
<file path=[Content_Types].xml><?xml version="1.0" encoding="utf-8"?>
<Types xmlns="http://schemas.openxmlformats.org/package/2006/content-types">
  <Default Extension="bin" ContentType="application/vnd.openxmlformats-officedocument.oleObject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96" r:id="rId5"/>
    <p:sldMasterId id="2147483709" r:id="rId6"/>
    <p:sldMasterId id="2147483721" r:id="rId7"/>
    <p:sldMasterId id="2147483733" r:id="rId8"/>
  </p:sldMasterIdLst>
  <p:notesMasterIdLst>
    <p:notesMasterId r:id="rId29"/>
  </p:notesMasterIdLst>
  <p:handoutMasterIdLst>
    <p:handoutMasterId r:id="rId30"/>
  </p:handoutMasterIdLst>
  <p:sldIdLst>
    <p:sldId id="256" r:id="rId9"/>
    <p:sldId id="26563" r:id="rId10"/>
    <p:sldId id="26564" r:id="rId11"/>
    <p:sldId id="271" r:id="rId12"/>
    <p:sldId id="26441" r:id="rId13"/>
    <p:sldId id="26565" r:id="rId14"/>
    <p:sldId id="26547" r:id="rId15"/>
    <p:sldId id="26548" r:id="rId16"/>
    <p:sldId id="26458" r:id="rId17"/>
    <p:sldId id="266" r:id="rId18"/>
    <p:sldId id="270" r:id="rId19"/>
    <p:sldId id="269" r:id="rId20"/>
    <p:sldId id="274" r:id="rId21"/>
    <p:sldId id="26566" r:id="rId22"/>
    <p:sldId id="26567" r:id="rId23"/>
    <p:sldId id="2975" r:id="rId24"/>
    <p:sldId id="26549" r:id="rId25"/>
    <p:sldId id="273" r:id="rId26"/>
    <p:sldId id="265" r:id="rId27"/>
    <p:sldId id="26440" r:id="rId2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7" orient="horz" pos="2500" userDrawn="1">
          <p15:clr>
            <a:srgbClr val="A4A3A4"/>
          </p15:clr>
        </p15:guide>
        <p15:guide id="8" pos="49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1E4"/>
    <a:srgbClr val="B8D3E8"/>
    <a:srgbClr val="197DCE"/>
    <a:srgbClr val="BC7FBB"/>
    <a:srgbClr val="7FC6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4AC65F-6DFA-411A-BFD2-548172DA252F}" v="140" dt="2023-10-25T10:55:22.711"/>
  </p1510:revLst>
</p1510:revInfo>
</file>

<file path=ppt/tableStyles.xml><?xml version="1.0" encoding="utf-8"?>
<a:tblStyleLst xmlns:a="http://schemas.openxmlformats.org/drawingml/2006/main" def="{284E427A-3D55-4303-BF80-6455036E1DE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291" autoAdjust="0"/>
  </p:normalViewPr>
  <p:slideViewPr>
    <p:cSldViewPr snapToGrid="0" showGuides="1">
      <p:cViewPr>
        <p:scale>
          <a:sx n="66" d="100"/>
          <a:sy n="66" d="100"/>
        </p:scale>
        <p:origin x="1282" y="701"/>
      </p:cViewPr>
      <p:guideLst>
        <p:guide pos="3840"/>
        <p:guide orient="horz" pos="2500"/>
        <p:guide pos="495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8" d="100"/>
          <a:sy n="58" d="100"/>
        </p:scale>
        <p:origin x="2965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handoutMaster" Target="handoutMasters/handout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I SUOMINEN" userId="173c33f31711fa31" providerId="LiveId" clId="{194AC65F-6DFA-411A-BFD2-548172DA252F}"/>
    <pc:docChg chg="undo custSel addSld delSld modSld sldOrd modMainMaster">
      <pc:chgData name="KATI SUOMINEN" userId="173c33f31711fa31" providerId="LiveId" clId="{194AC65F-6DFA-411A-BFD2-548172DA252F}" dt="2023-10-25T11:02:51.240" v="1867" actId="20577"/>
      <pc:docMkLst>
        <pc:docMk/>
      </pc:docMkLst>
      <pc:sldChg chg="modSp mod">
        <pc:chgData name="KATI SUOMINEN" userId="173c33f31711fa31" providerId="LiveId" clId="{194AC65F-6DFA-411A-BFD2-548172DA252F}" dt="2023-10-25T10:46:09.008" v="1728" actId="1076"/>
        <pc:sldMkLst>
          <pc:docMk/>
          <pc:sldMk cId="2142316308" sldId="256"/>
        </pc:sldMkLst>
        <pc:spChg chg="mod">
          <ac:chgData name="KATI SUOMINEN" userId="173c33f31711fa31" providerId="LiveId" clId="{194AC65F-6DFA-411A-BFD2-548172DA252F}" dt="2023-10-25T10:40:17.624" v="1584" actId="255"/>
          <ac:spMkLst>
            <pc:docMk/>
            <pc:sldMk cId="2142316308" sldId="256"/>
            <ac:spMk id="3" creationId="{05857963-8D3D-4F24-B535-54652EE095F0}"/>
          </ac:spMkLst>
        </pc:spChg>
        <pc:spChg chg="mod">
          <ac:chgData name="KATI SUOMINEN" userId="173c33f31711fa31" providerId="LiveId" clId="{194AC65F-6DFA-411A-BFD2-548172DA252F}" dt="2023-10-25T10:46:09.008" v="1728" actId="1076"/>
          <ac:spMkLst>
            <pc:docMk/>
            <pc:sldMk cId="2142316308" sldId="256"/>
            <ac:spMk id="4" creationId="{1E70722D-0BC0-4487-812D-1E4E0DEC1129}"/>
          </ac:spMkLst>
        </pc:spChg>
        <pc:spChg chg="mod">
          <ac:chgData name="KATI SUOMINEN" userId="173c33f31711fa31" providerId="LiveId" clId="{194AC65F-6DFA-411A-BFD2-548172DA252F}" dt="2023-10-25T10:45:46.206" v="1684" actId="1076"/>
          <ac:spMkLst>
            <pc:docMk/>
            <pc:sldMk cId="2142316308" sldId="256"/>
            <ac:spMk id="5" creationId="{B623514F-9C9F-4868-A7D9-66CAA07E615D}"/>
          </ac:spMkLst>
        </pc:spChg>
        <pc:spChg chg="mod">
          <ac:chgData name="KATI SUOMINEN" userId="173c33f31711fa31" providerId="LiveId" clId="{194AC65F-6DFA-411A-BFD2-548172DA252F}" dt="2023-10-25T10:46:06.638" v="1727" actId="1076"/>
          <ac:spMkLst>
            <pc:docMk/>
            <pc:sldMk cId="2142316308" sldId="256"/>
            <ac:spMk id="7" creationId="{CD6776E3-884A-86E5-A269-512BA80A9B5D}"/>
          </ac:spMkLst>
        </pc:spChg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434389766" sldId="257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3733523618" sldId="258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2636584484" sldId="259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18768004" sldId="260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612177979" sldId="261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2902992781" sldId="262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4243905809" sldId="263"/>
        </pc:sldMkLst>
      </pc:sldChg>
      <pc:sldChg chg="del">
        <pc:chgData name="KATI SUOMINEN" userId="173c33f31711fa31" providerId="LiveId" clId="{194AC65F-6DFA-411A-BFD2-548172DA252F}" dt="2023-10-25T03:11:33.109" v="498" actId="47"/>
        <pc:sldMkLst>
          <pc:docMk/>
          <pc:sldMk cId="491993309" sldId="264"/>
        </pc:sldMkLst>
      </pc:sldChg>
      <pc:sldChg chg="addSp delSp modSp mod">
        <pc:chgData name="KATI SUOMINEN" userId="173c33f31711fa31" providerId="LiveId" clId="{194AC65F-6DFA-411A-BFD2-548172DA252F}" dt="2023-10-25T03:11:51.457" v="524" actId="478"/>
        <pc:sldMkLst>
          <pc:docMk/>
          <pc:sldMk cId="3309279394" sldId="265"/>
        </pc:sldMkLst>
        <pc:spChg chg="del">
          <ac:chgData name="KATI SUOMINEN" userId="173c33f31711fa31" providerId="LiveId" clId="{194AC65F-6DFA-411A-BFD2-548172DA252F}" dt="2023-10-25T03:11:45.645" v="522" actId="478"/>
          <ac:spMkLst>
            <pc:docMk/>
            <pc:sldMk cId="3309279394" sldId="265"/>
            <ac:spMk id="2" creationId="{CBA4F671-D586-49FB-B0C1-E7E9ADFE08D4}"/>
          </ac:spMkLst>
        </pc:spChg>
        <pc:spChg chg="del">
          <ac:chgData name="KATI SUOMINEN" userId="173c33f31711fa31" providerId="LiveId" clId="{194AC65F-6DFA-411A-BFD2-548172DA252F}" dt="2023-10-25T03:11:47.846" v="523" actId="478"/>
          <ac:spMkLst>
            <pc:docMk/>
            <pc:sldMk cId="3309279394" sldId="265"/>
            <ac:spMk id="3" creationId="{16721AB4-1CF0-4825-926E-5207D64C2645}"/>
          </ac:spMkLst>
        </pc:spChg>
        <pc:spChg chg="mod">
          <ac:chgData name="KATI SUOMINEN" userId="173c33f31711fa31" providerId="LiveId" clId="{194AC65F-6DFA-411A-BFD2-548172DA252F}" dt="2023-10-25T03:11:40.294" v="521" actId="20577"/>
          <ac:spMkLst>
            <pc:docMk/>
            <pc:sldMk cId="3309279394" sldId="265"/>
            <ac:spMk id="7" creationId="{72B381BA-F1D7-483F-B759-9C3451355503}"/>
          </ac:spMkLst>
        </pc:spChg>
        <pc:spChg chg="add del mod">
          <ac:chgData name="KATI SUOMINEN" userId="173c33f31711fa31" providerId="LiveId" clId="{194AC65F-6DFA-411A-BFD2-548172DA252F}" dt="2023-10-25T03:11:51.457" v="524" actId="478"/>
          <ac:spMkLst>
            <pc:docMk/>
            <pc:sldMk cId="3309279394" sldId="265"/>
            <ac:spMk id="9" creationId="{720545B7-6B3C-63FD-F1D7-F092F08EB145}"/>
          </ac:spMkLst>
        </pc:spChg>
      </pc:sldChg>
      <pc:sldChg chg="addSp delSp modSp mod">
        <pc:chgData name="KATI SUOMINEN" userId="173c33f31711fa31" providerId="LiveId" clId="{194AC65F-6DFA-411A-BFD2-548172DA252F}" dt="2023-10-25T10:49:43.295" v="1756" actId="14100"/>
        <pc:sldMkLst>
          <pc:docMk/>
          <pc:sldMk cId="3193505468" sldId="266"/>
        </pc:sldMkLst>
        <pc:spChg chg="mod">
          <ac:chgData name="KATI SUOMINEN" userId="173c33f31711fa31" providerId="LiveId" clId="{194AC65F-6DFA-411A-BFD2-548172DA252F}" dt="2023-10-25T02:23:22.043" v="386" actId="20577"/>
          <ac:spMkLst>
            <pc:docMk/>
            <pc:sldMk cId="3193505468" sldId="266"/>
            <ac:spMk id="2" creationId="{46ADEA92-BC0F-7CEE-B849-EA80A506A3B8}"/>
          </ac:spMkLst>
        </pc:spChg>
        <pc:spChg chg="mod">
          <ac:chgData name="KATI SUOMINEN" userId="173c33f31711fa31" providerId="LiveId" clId="{194AC65F-6DFA-411A-BFD2-548172DA252F}" dt="2023-10-25T02:21:04.323" v="131" actId="14100"/>
          <ac:spMkLst>
            <pc:docMk/>
            <pc:sldMk cId="3193505468" sldId="266"/>
            <ac:spMk id="5" creationId="{5485BE4E-B44F-84B6-B885-C181067F8175}"/>
          </ac:spMkLst>
        </pc:spChg>
        <pc:spChg chg="add del mod">
          <ac:chgData name="KATI SUOMINEN" userId="173c33f31711fa31" providerId="LiveId" clId="{194AC65F-6DFA-411A-BFD2-548172DA252F}" dt="2023-10-25T08:55:39.112" v="1487"/>
          <ac:spMkLst>
            <pc:docMk/>
            <pc:sldMk cId="3193505468" sldId="266"/>
            <ac:spMk id="7" creationId="{1332AB88-A863-3754-48D2-234C6D049261}"/>
          </ac:spMkLst>
        </pc:spChg>
        <pc:spChg chg="mod">
          <ac:chgData name="KATI SUOMINEN" userId="173c33f31711fa31" providerId="LiveId" clId="{194AC65F-6DFA-411A-BFD2-548172DA252F}" dt="2023-10-25T02:18:40.982" v="96"/>
          <ac:spMkLst>
            <pc:docMk/>
            <pc:sldMk cId="3193505468" sldId="266"/>
            <ac:spMk id="9" creationId="{05AB56E6-7590-153D-4971-2C460A3ABA3C}"/>
          </ac:spMkLst>
        </pc:spChg>
        <pc:spChg chg="mod">
          <ac:chgData name="KATI SUOMINEN" userId="173c33f31711fa31" providerId="LiveId" clId="{194AC65F-6DFA-411A-BFD2-548172DA252F}" dt="2023-10-25T02:18:53.982" v="100"/>
          <ac:spMkLst>
            <pc:docMk/>
            <pc:sldMk cId="3193505468" sldId="266"/>
            <ac:spMk id="13" creationId="{64FE47D4-A7FA-E2B2-DF7D-733985868849}"/>
          </ac:spMkLst>
        </pc:spChg>
        <pc:spChg chg="mod">
          <ac:chgData name="KATI SUOMINEN" userId="173c33f31711fa31" providerId="LiveId" clId="{194AC65F-6DFA-411A-BFD2-548172DA252F}" dt="2023-10-25T02:21:06.300" v="132" actId="1076"/>
          <ac:spMkLst>
            <pc:docMk/>
            <pc:sldMk cId="3193505468" sldId="266"/>
            <ac:spMk id="14" creationId="{7B413557-1C24-559F-D183-53BF0C36363A}"/>
          </ac:spMkLst>
        </pc:spChg>
        <pc:spChg chg="add mod">
          <ac:chgData name="KATI SUOMINEN" userId="173c33f31711fa31" providerId="LiveId" clId="{194AC65F-6DFA-411A-BFD2-548172DA252F}" dt="2023-10-25T08:55:31.286" v="1484" actId="1076"/>
          <ac:spMkLst>
            <pc:docMk/>
            <pc:sldMk cId="3193505468" sldId="266"/>
            <ac:spMk id="18" creationId="{A470F5D4-A43B-0B45-BC41-9A5039D9F078}"/>
          </ac:spMkLst>
        </pc:spChg>
        <pc:grpChg chg="mod">
          <ac:chgData name="KATI SUOMINEN" userId="173c33f31711fa31" providerId="LiveId" clId="{194AC65F-6DFA-411A-BFD2-548172DA252F}" dt="2023-10-25T08:09:55.578" v="1411" actId="1076"/>
          <ac:grpSpMkLst>
            <pc:docMk/>
            <pc:sldMk cId="3193505468" sldId="266"/>
            <ac:grpSpMk id="3" creationId="{E6C11376-AED0-3746-554F-CA39B6C5CE32}"/>
          </ac:grpSpMkLst>
        </pc:grpChg>
        <pc:grpChg chg="del">
          <ac:chgData name="KATI SUOMINEN" userId="173c33f31711fa31" providerId="LiveId" clId="{194AC65F-6DFA-411A-BFD2-548172DA252F}" dt="2023-10-25T02:18:53.564" v="99" actId="478"/>
          <ac:grpSpMkLst>
            <pc:docMk/>
            <pc:sldMk cId="3193505468" sldId="266"/>
            <ac:grpSpMk id="7" creationId="{C8406547-8FF5-ACC2-A1B1-E8EDA2867F52}"/>
          </ac:grpSpMkLst>
        </pc:grpChg>
        <pc:grpChg chg="add mod">
          <ac:chgData name="KATI SUOMINEN" userId="173c33f31711fa31" providerId="LiveId" clId="{194AC65F-6DFA-411A-BFD2-548172DA252F}" dt="2023-10-25T02:19:22.668" v="107" actId="1076"/>
          <ac:grpSpMkLst>
            <pc:docMk/>
            <pc:sldMk cId="3193505468" sldId="266"/>
            <ac:grpSpMk id="12" creationId="{705F6213-E2AE-032A-F25C-32C976AD9E3E}"/>
          </ac:grpSpMkLst>
        </pc:grpChg>
        <pc:graphicFrameChg chg="add del mod">
          <ac:chgData name="KATI SUOMINEN" userId="173c33f31711fa31" providerId="LiveId" clId="{194AC65F-6DFA-411A-BFD2-548172DA252F}" dt="2023-10-25T10:48:00.832" v="1729" actId="478"/>
          <ac:graphicFrameMkLst>
            <pc:docMk/>
            <pc:sldMk cId="3193505468" sldId="266"/>
            <ac:graphicFrameMk id="6" creationId="{2CC370D5-548C-A545-AB42-AC40CAF7ED9A}"/>
          </ac:graphicFrameMkLst>
        </pc:graphicFrameChg>
        <pc:graphicFrameChg chg="add del mod">
          <ac:chgData name="KATI SUOMINEN" userId="173c33f31711fa31" providerId="LiveId" clId="{194AC65F-6DFA-411A-BFD2-548172DA252F}" dt="2023-10-25T08:56:16.542" v="1492" actId="478"/>
          <ac:graphicFrameMkLst>
            <pc:docMk/>
            <pc:sldMk cId="3193505468" sldId="266"/>
            <ac:graphicFrameMk id="8" creationId="{CCBF7C52-90E6-F210-3540-8905FA0E6088}"/>
          </ac:graphicFrameMkLst>
        </pc:graphicFrameChg>
        <pc:graphicFrameChg chg="add mod">
          <ac:chgData name="KATI SUOMINEN" userId="173c33f31711fa31" providerId="LiveId" clId="{194AC65F-6DFA-411A-BFD2-548172DA252F}" dt="2023-10-25T10:49:43.295" v="1756" actId="14100"/>
          <ac:graphicFrameMkLst>
            <pc:docMk/>
            <pc:sldMk cId="3193505468" sldId="266"/>
            <ac:graphicFrameMk id="9" creationId="{D4C4B0DE-24D0-6147-B2F0-4DAEF9FBA44B}"/>
          </ac:graphicFrameMkLst>
        </pc:graphicFrameChg>
        <pc:graphicFrameChg chg="add mod">
          <ac:chgData name="KATI SUOMINEN" userId="173c33f31711fa31" providerId="LiveId" clId="{194AC65F-6DFA-411A-BFD2-548172DA252F}" dt="2023-10-25T10:49:23.770" v="1750" actId="1076"/>
          <ac:graphicFrameMkLst>
            <pc:docMk/>
            <pc:sldMk cId="3193505468" sldId="266"/>
            <ac:graphicFrameMk id="10" creationId="{2CC370D5-548C-A545-AB42-AC40CAF7ED9A}"/>
          </ac:graphicFrameMkLst>
        </pc:graphicFrameChg>
        <pc:graphicFrameChg chg="add del mod">
          <ac:chgData name="KATI SUOMINEN" userId="173c33f31711fa31" providerId="LiveId" clId="{194AC65F-6DFA-411A-BFD2-548172DA252F}" dt="2023-10-25T02:18:53.564" v="99" actId="478"/>
          <ac:graphicFrameMkLst>
            <pc:docMk/>
            <pc:sldMk cId="3193505468" sldId="266"/>
            <ac:graphicFrameMk id="10" creationId="{E1CD85FE-D651-3740-BC91-7486D7A2542F}"/>
          </ac:graphicFrameMkLst>
        </pc:graphicFrameChg>
        <pc:graphicFrameChg chg="add del mod">
          <ac:chgData name="KATI SUOMINEN" userId="173c33f31711fa31" providerId="LiveId" clId="{194AC65F-6DFA-411A-BFD2-548172DA252F}" dt="2023-10-25T08:55:34.510" v="1485" actId="478"/>
          <ac:graphicFrameMkLst>
            <pc:docMk/>
            <pc:sldMk cId="3193505468" sldId="266"/>
            <ac:graphicFrameMk id="15" creationId="{861A0B3A-5177-8F19-AC6F-6407A4935649}"/>
          </ac:graphicFrameMkLst>
        </pc:graphicFrameChg>
        <pc:graphicFrameChg chg="add mod">
          <ac:chgData name="KATI SUOMINEN" userId="173c33f31711fa31" providerId="LiveId" clId="{194AC65F-6DFA-411A-BFD2-548172DA252F}" dt="2023-10-25T10:49:37.705" v="1754" actId="14100"/>
          <ac:graphicFrameMkLst>
            <pc:docMk/>
            <pc:sldMk cId="3193505468" sldId="266"/>
            <ac:graphicFrameMk id="16" creationId="{254C322F-26C7-2FE3-E15B-B025A6C49DAE}"/>
          </ac:graphicFrameMkLst>
        </pc:graphicFrameChg>
        <pc:graphicFrameChg chg="del">
          <ac:chgData name="KATI SUOMINEN" userId="173c33f31711fa31" providerId="LiveId" clId="{194AC65F-6DFA-411A-BFD2-548172DA252F}" dt="2023-10-25T02:11:22.403" v="4" actId="478"/>
          <ac:graphicFrameMkLst>
            <pc:docMk/>
            <pc:sldMk cId="3193505468" sldId="266"/>
            <ac:graphicFrameMk id="17" creationId="{5A943033-34C8-4F4F-8D81-5BCAA9F24FB2}"/>
          </ac:graphicFrameMkLst>
        </pc:graphicFrameChg>
        <pc:graphicFrameChg chg="del">
          <ac:chgData name="KATI SUOMINEN" userId="173c33f31711fa31" providerId="LiveId" clId="{194AC65F-6DFA-411A-BFD2-548172DA252F}" dt="2023-10-25T02:09:47.033" v="0" actId="478"/>
          <ac:graphicFrameMkLst>
            <pc:docMk/>
            <pc:sldMk cId="3193505468" sldId="266"/>
            <ac:graphicFrameMk id="20" creationId="{8E078ECA-ADBA-4343-A3E0-DFE2C1681E63}"/>
          </ac:graphicFrameMkLst>
        </pc:graphicFrameChg>
      </pc:sldChg>
      <pc:sldChg chg="del">
        <pc:chgData name="KATI SUOMINEN" userId="173c33f31711fa31" providerId="LiveId" clId="{194AC65F-6DFA-411A-BFD2-548172DA252F}" dt="2023-10-25T03:11:54.035" v="525" actId="47"/>
        <pc:sldMkLst>
          <pc:docMk/>
          <pc:sldMk cId="59582380" sldId="268"/>
        </pc:sldMkLst>
      </pc:sldChg>
      <pc:sldChg chg="addSp delSp modSp mod ord modAnim">
        <pc:chgData name="KATI SUOMINEN" userId="173c33f31711fa31" providerId="LiveId" clId="{194AC65F-6DFA-411A-BFD2-548172DA252F}" dt="2023-10-25T10:55:22.702" v="1821" actId="27918"/>
        <pc:sldMkLst>
          <pc:docMk/>
          <pc:sldMk cId="2873087001" sldId="269"/>
        </pc:sldMkLst>
        <pc:spChg chg="mod">
          <ac:chgData name="KATI SUOMINEN" userId="173c33f31711fa31" providerId="LiveId" clId="{194AC65F-6DFA-411A-BFD2-548172DA252F}" dt="2023-10-25T02:18:08.805" v="92" actId="1076"/>
          <ac:spMkLst>
            <pc:docMk/>
            <pc:sldMk cId="2873087001" sldId="269"/>
            <ac:spMk id="5" creationId="{5485BE4E-B44F-84B6-B885-C181067F8175}"/>
          </ac:spMkLst>
        </pc:spChg>
        <pc:spChg chg="mod">
          <ac:chgData name="KATI SUOMINEN" userId="173c33f31711fa31" providerId="LiveId" clId="{194AC65F-6DFA-411A-BFD2-548172DA252F}" dt="2023-10-25T02:17:08.594" v="58" actId="6549"/>
          <ac:spMkLst>
            <pc:docMk/>
            <pc:sldMk cId="2873087001" sldId="269"/>
            <ac:spMk id="9" creationId="{05AB56E6-7590-153D-4971-2C460A3ABA3C}"/>
          </ac:spMkLst>
        </pc:spChg>
        <pc:graphicFrameChg chg="del">
          <ac:chgData name="KATI SUOMINEN" userId="173c33f31711fa31" providerId="LiveId" clId="{194AC65F-6DFA-411A-BFD2-548172DA252F}" dt="2023-10-25T02:12:17.841" v="10" actId="478"/>
          <ac:graphicFrameMkLst>
            <pc:docMk/>
            <pc:sldMk cId="2873087001" sldId="269"/>
            <ac:graphicFrameMk id="6" creationId="{2CC370D5-548C-A545-AB42-AC40CAF7ED9A}"/>
          </ac:graphicFrameMkLst>
        </pc:graphicFrameChg>
        <pc:graphicFrameChg chg="add mod">
          <ac:chgData name="KATI SUOMINEN" userId="173c33f31711fa31" providerId="LiveId" clId="{194AC65F-6DFA-411A-BFD2-548172DA252F}" dt="2023-10-25T10:55:21.227" v="1820" actId="255"/>
          <ac:graphicFrameMkLst>
            <pc:docMk/>
            <pc:sldMk cId="2873087001" sldId="269"/>
            <ac:graphicFrameMk id="6" creationId="{F456D3B0-5949-DC4E-B3A0-1D508FD9F71B}"/>
          </ac:graphicFrameMkLst>
        </pc:graphicFrameChg>
        <pc:graphicFrameChg chg="add mod">
          <ac:chgData name="KATI SUOMINEN" userId="173c33f31711fa31" providerId="LiveId" clId="{194AC65F-6DFA-411A-BFD2-548172DA252F}" dt="2023-10-25T08:09:01.573" v="1404" actId="113"/>
          <ac:graphicFrameMkLst>
            <pc:docMk/>
            <pc:sldMk cId="2873087001" sldId="269"/>
            <ac:graphicFrameMk id="10" creationId="{26AECB7A-8A55-4844-9012-3380CD1B04EE}"/>
          </ac:graphicFrameMkLst>
        </pc:graphicFrameChg>
        <pc:graphicFrameChg chg="del">
          <ac:chgData name="KATI SUOMINEN" userId="173c33f31711fa31" providerId="LiveId" clId="{194AC65F-6DFA-411A-BFD2-548172DA252F}" dt="2023-10-25T02:12:29.419" v="14" actId="478"/>
          <ac:graphicFrameMkLst>
            <pc:docMk/>
            <pc:sldMk cId="2873087001" sldId="269"/>
            <ac:graphicFrameMk id="10" creationId="{E1CD85FE-D651-3740-BC91-7486D7A2542F}"/>
          </ac:graphicFrameMkLst>
        </pc:graphicFrameChg>
        <pc:graphicFrameChg chg="add mod">
          <ac:chgData name="KATI SUOMINEN" userId="173c33f31711fa31" providerId="LiveId" clId="{194AC65F-6DFA-411A-BFD2-548172DA252F}" dt="2023-10-25T10:55:12.937" v="1819" actId="14100"/>
          <ac:graphicFrameMkLst>
            <pc:docMk/>
            <pc:sldMk cId="2873087001" sldId="269"/>
            <ac:graphicFrameMk id="12" creationId="{2EBBB47B-9FFA-9944-9048-BA7217754F3A}"/>
          </ac:graphicFrameMkLst>
        </pc:graphicFrameChg>
        <pc:graphicFrameChg chg="add del mod">
          <ac:chgData name="KATI SUOMINEN" userId="173c33f31711fa31" providerId="LiveId" clId="{194AC65F-6DFA-411A-BFD2-548172DA252F}" dt="2023-10-25T02:13:15.152" v="30" actId="478"/>
          <ac:graphicFrameMkLst>
            <pc:docMk/>
            <pc:sldMk cId="2873087001" sldId="269"/>
            <ac:graphicFrameMk id="13" creationId="{D4C4B0DE-24D0-6147-B2F0-4DAEF9FBA44B}"/>
          </ac:graphicFrameMkLst>
        </pc:graphicFrameChg>
        <pc:graphicFrameChg chg="add del mod">
          <ac:chgData name="KATI SUOMINEN" userId="173c33f31711fa31" providerId="LiveId" clId="{194AC65F-6DFA-411A-BFD2-548172DA252F}" dt="2023-10-25T02:15:31.049" v="38" actId="478"/>
          <ac:graphicFrameMkLst>
            <pc:docMk/>
            <pc:sldMk cId="2873087001" sldId="269"/>
            <ac:graphicFrameMk id="14" creationId="{F456D3B0-5949-DC4E-B3A0-1D508FD9F71B}"/>
          </ac:graphicFrameMkLst>
        </pc:graphicFrameChg>
        <pc:graphicFrameChg chg="add del mod">
          <ac:chgData name="KATI SUOMINEN" userId="173c33f31711fa31" providerId="LiveId" clId="{194AC65F-6DFA-411A-BFD2-548172DA252F}" dt="2023-10-25T08:08:27.250" v="1392" actId="478"/>
          <ac:graphicFrameMkLst>
            <pc:docMk/>
            <pc:sldMk cId="2873087001" sldId="269"/>
            <ac:graphicFrameMk id="15" creationId="{F456D3B0-5949-DC4E-B3A0-1D508FD9F71B}"/>
          </ac:graphicFrameMkLst>
        </pc:graphicFrameChg>
        <pc:graphicFrameChg chg="add del mod">
          <ac:chgData name="KATI SUOMINEN" userId="173c33f31711fa31" providerId="LiveId" clId="{194AC65F-6DFA-411A-BFD2-548172DA252F}" dt="2023-10-25T03:43:33.690" v="718" actId="478"/>
          <ac:graphicFrameMkLst>
            <pc:docMk/>
            <pc:sldMk cId="2873087001" sldId="269"/>
            <ac:graphicFrameMk id="16" creationId="{1C85BA5F-B7DC-684A-B483-A8146D082ABD}"/>
          </ac:graphicFrameMkLst>
        </pc:graphicFrameChg>
      </pc:sldChg>
      <pc:sldChg chg="addSp delSp modSp mod">
        <pc:chgData name="KATI SUOMINEN" userId="173c33f31711fa31" providerId="LiveId" clId="{194AC65F-6DFA-411A-BFD2-548172DA252F}" dt="2023-10-25T10:54:59.351" v="1815" actId="255"/>
        <pc:sldMkLst>
          <pc:docMk/>
          <pc:sldMk cId="2263933509" sldId="270"/>
        </pc:sldMkLst>
        <pc:spChg chg="mod">
          <ac:chgData name="KATI SUOMINEN" userId="173c33f31711fa31" providerId="LiveId" clId="{194AC65F-6DFA-411A-BFD2-548172DA252F}" dt="2023-10-25T02:22:27.543" v="309" actId="20577"/>
          <ac:spMkLst>
            <pc:docMk/>
            <pc:sldMk cId="2263933509" sldId="270"/>
            <ac:spMk id="2" creationId="{46ADEA92-BC0F-7CEE-B849-EA80A506A3B8}"/>
          </ac:spMkLst>
        </pc:spChg>
        <pc:spChg chg="mod">
          <ac:chgData name="KATI SUOMINEN" userId="173c33f31711fa31" providerId="LiveId" clId="{194AC65F-6DFA-411A-BFD2-548172DA252F}" dt="2023-10-25T02:17:26.025" v="61" actId="20577"/>
          <ac:spMkLst>
            <pc:docMk/>
            <pc:sldMk cId="2263933509" sldId="270"/>
            <ac:spMk id="5" creationId="{5485BE4E-B44F-84B6-B885-C181067F8175}"/>
          </ac:spMkLst>
        </pc:spChg>
        <pc:spChg chg="mod">
          <ac:chgData name="KATI SUOMINEN" userId="173c33f31711fa31" providerId="LiveId" clId="{194AC65F-6DFA-411A-BFD2-548172DA252F}" dt="2023-10-25T03:13:28.841" v="624" actId="20577"/>
          <ac:spMkLst>
            <pc:docMk/>
            <pc:sldMk cId="2263933509" sldId="270"/>
            <ac:spMk id="9" creationId="{05AB56E6-7590-153D-4971-2C460A3ABA3C}"/>
          </ac:spMkLst>
        </pc:spChg>
        <pc:spChg chg="mod">
          <ac:chgData name="KATI SUOMINEN" userId="173c33f31711fa31" providerId="LiveId" clId="{194AC65F-6DFA-411A-BFD2-548172DA252F}" dt="2023-10-25T02:18:48.454" v="98"/>
          <ac:spMkLst>
            <pc:docMk/>
            <pc:sldMk cId="2263933509" sldId="270"/>
            <ac:spMk id="14" creationId="{0FF5D714-C5CC-7869-1254-9436E1C99555}"/>
          </ac:spMkLst>
        </pc:spChg>
        <pc:spChg chg="mod">
          <ac:chgData name="KATI SUOMINEN" userId="173c33f31711fa31" providerId="LiveId" clId="{194AC65F-6DFA-411A-BFD2-548172DA252F}" dt="2023-10-25T08:43:11.496" v="1480" actId="20577"/>
          <ac:spMkLst>
            <pc:docMk/>
            <pc:sldMk cId="2263933509" sldId="270"/>
            <ac:spMk id="15" creationId="{0BA72240-A374-7644-F59B-F80B24F3FC91}"/>
          </ac:spMkLst>
        </pc:spChg>
        <pc:grpChg chg="del">
          <ac:chgData name="KATI SUOMINEN" userId="173c33f31711fa31" providerId="LiveId" clId="{194AC65F-6DFA-411A-BFD2-548172DA252F}" dt="2023-10-25T02:19:38.007" v="110" actId="478"/>
          <ac:grpSpMkLst>
            <pc:docMk/>
            <pc:sldMk cId="2263933509" sldId="270"/>
            <ac:grpSpMk id="3" creationId="{E6C11376-AED0-3746-554F-CA39B6C5CE32}"/>
          </ac:grpSpMkLst>
        </pc:grpChg>
        <pc:grpChg chg="add mod">
          <ac:chgData name="KATI SUOMINEN" userId="173c33f31711fa31" providerId="LiveId" clId="{194AC65F-6DFA-411A-BFD2-548172DA252F}" dt="2023-10-25T02:23:30.616" v="388" actId="1076"/>
          <ac:grpSpMkLst>
            <pc:docMk/>
            <pc:sldMk cId="2263933509" sldId="270"/>
            <ac:grpSpMk id="10" creationId="{C23C544D-9F6A-AEF7-74DA-04D972E7D5C6}"/>
          </ac:grpSpMkLst>
        </pc:grpChg>
        <pc:graphicFrameChg chg="add mod">
          <ac:chgData name="KATI SUOMINEN" userId="173c33f31711fa31" providerId="LiveId" clId="{194AC65F-6DFA-411A-BFD2-548172DA252F}" dt="2023-10-25T10:54:55.153" v="1814" actId="255"/>
          <ac:graphicFrameMkLst>
            <pc:docMk/>
            <pc:sldMk cId="2263933509" sldId="270"/>
            <ac:graphicFrameMk id="6" creationId="{CC6AB5DF-FCAC-C842-9370-5AEAD971725A}"/>
          </ac:graphicFrameMkLst>
        </pc:graphicFrameChg>
        <pc:graphicFrameChg chg="del">
          <ac:chgData name="KATI SUOMINEN" userId="173c33f31711fa31" providerId="LiveId" clId="{194AC65F-6DFA-411A-BFD2-548172DA252F}" dt="2023-10-25T02:12:47.127" v="20" actId="478"/>
          <ac:graphicFrameMkLst>
            <pc:docMk/>
            <pc:sldMk cId="2263933509" sldId="270"/>
            <ac:graphicFrameMk id="12" creationId="{2EBBB47B-9FFA-9944-9048-BA7217754F3A}"/>
          </ac:graphicFrameMkLst>
        </pc:graphicFrameChg>
        <pc:graphicFrameChg chg="del mod">
          <ac:chgData name="KATI SUOMINEN" userId="173c33f31711fa31" providerId="LiveId" clId="{194AC65F-6DFA-411A-BFD2-548172DA252F}" dt="2023-10-25T02:19:36.085" v="109" actId="478"/>
          <ac:graphicFrameMkLst>
            <pc:docMk/>
            <pc:sldMk cId="2263933509" sldId="270"/>
            <ac:graphicFrameMk id="13" creationId="{D4C4B0DE-24D0-6147-B2F0-4DAEF9FBA44B}"/>
          </ac:graphicFrameMkLst>
        </pc:graphicFrameChg>
        <pc:graphicFrameChg chg="add mod">
          <ac:chgData name="KATI SUOMINEN" userId="173c33f31711fa31" providerId="LiveId" clId="{194AC65F-6DFA-411A-BFD2-548172DA252F}" dt="2023-10-25T10:54:59.351" v="1815" actId="255"/>
          <ac:graphicFrameMkLst>
            <pc:docMk/>
            <pc:sldMk cId="2263933509" sldId="270"/>
            <ac:graphicFrameMk id="16" creationId="{34E8E04E-A55C-7118-EF91-0723529E582B}"/>
          </ac:graphicFrameMkLst>
        </pc:graphicFrameChg>
      </pc:sldChg>
      <pc:sldChg chg="add del">
        <pc:chgData name="KATI SUOMINEN" userId="173c33f31711fa31" providerId="LiveId" clId="{194AC65F-6DFA-411A-BFD2-548172DA252F}" dt="2023-10-25T02:22:43.488" v="315"/>
        <pc:sldMkLst>
          <pc:docMk/>
          <pc:sldMk cId="3071903919" sldId="271"/>
        </pc:sldMkLst>
      </pc:sldChg>
      <pc:sldChg chg="addSp delSp modSp mod">
        <pc:chgData name="KATI SUOMINEN" userId="173c33f31711fa31" providerId="LiveId" clId="{194AC65F-6DFA-411A-BFD2-548172DA252F}" dt="2023-10-25T10:40:42.684" v="1586" actId="1076"/>
        <pc:sldMkLst>
          <pc:docMk/>
          <pc:sldMk cId="3107557847" sldId="271"/>
        </pc:sldMkLst>
        <pc:spChg chg="mod">
          <ac:chgData name="KATI SUOMINEN" userId="173c33f31711fa31" providerId="LiveId" clId="{194AC65F-6DFA-411A-BFD2-548172DA252F}" dt="2023-10-25T06:15:33.500" v="1220" actId="313"/>
          <ac:spMkLst>
            <pc:docMk/>
            <pc:sldMk cId="3107557847" sldId="271"/>
            <ac:spMk id="2" creationId="{46ADEA92-BC0F-7CEE-B849-EA80A506A3B8}"/>
          </ac:spMkLst>
        </pc:spChg>
        <pc:spChg chg="mod">
          <ac:chgData name="KATI SUOMINEN" userId="173c33f31711fa31" providerId="LiveId" clId="{194AC65F-6DFA-411A-BFD2-548172DA252F}" dt="2023-10-25T06:15:47.045" v="1233" actId="20577"/>
          <ac:spMkLst>
            <pc:docMk/>
            <pc:sldMk cId="3107557847" sldId="271"/>
            <ac:spMk id="14" creationId="{7B413557-1C24-559F-D183-53BF0C36363A}"/>
          </ac:spMkLst>
        </pc:spChg>
        <pc:spChg chg="mod">
          <ac:chgData name="KATI SUOMINEN" userId="173c33f31711fa31" providerId="LiveId" clId="{194AC65F-6DFA-411A-BFD2-548172DA252F}" dt="2023-10-25T04:00:12.217" v="784"/>
          <ac:spMkLst>
            <pc:docMk/>
            <pc:sldMk cId="3107557847" sldId="271"/>
            <ac:spMk id="20" creationId="{F1B80FE2-BF80-CBBA-8250-769640AD9724}"/>
          </ac:spMkLst>
        </pc:spChg>
        <pc:spChg chg="mod">
          <ac:chgData name="KATI SUOMINEN" userId="173c33f31711fa31" providerId="LiveId" clId="{194AC65F-6DFA-411A-BFD2-548172DA252F}" dt="2023-10-25T04:00:25.405" v="821" actId="20577"/>
          <ac:spMkLst>
            <pc:docMk/>
            <pc:sldMk cId="3107557847" sldId="271"/>
            <ac:spMk id="21" creationId="{E1798776-BEB3-DFE5-E71E-BE22E402759A}"/>
          </ac:spMkLst>
        </pc:spChg>
        <pc:grpChg chg="del">
          <ac:chgData name="KATI SUOMINEN" userId="173c33f31711fa31" providerId="LiveId" clId="{194AC65F-6DFA-411A-BFD2-548172DA252F}" dt="2023-10-25T02:23:05.368" v="377" actId="478"/>
          <ac:grpSpMkLst>
            <pc:docMk/>
            <pc:sldMk cId="3107557847" sldId="271"/>
            <ac:grpSpMk id="3" creationId="{E6C11376-AED0-3746-554F-CA39B6C5CE32}"/>
          </ac:grpSpMkLst>
        </pc:grpChg>
        <pc:grpChg chg="mod">
          <ac:chgData name="KATI SUOMINEN" userId="173c33f31711fa31" providerId="LiveId" clId="{194AC65F-6DFA-411A-BFD2-548172DA252F}" dt="2023-10-25T08:57:47.291" v="1512" actId="1076"/>
          <ac:grpSpMkLst>
            <pc:docMk/>
            <pc:sldMk cId="3107557847" sldId="271"/>
            <ac:grpSpMk id="12" creationId="{705F6213-E2AE-032A-F25C-32C976AD9E3E}"/>
          </ac:grpSpMkLst>
        </pc:grpChg>
        <pc:grpChg chg="add mod">
          <ac:chgData name="KATI SUOMINEN" userId="173c33f31711fa31" providerId="LiveId" clId="{194AC65F-6DFA-411A-BFD2-548172DA252F}" dt="2023-10-25T09:14:46.920" v="1513" actId="1076"/>
          <ac:grpSpMkLst>
            <pc:docMk/>
            <pc:sldMk cId="3107557847" sldId="271"/>
            <ac:grpSpMk id="19" creationId="{4835AE13-314F-381B-78C7-CBE38BEE3A94}"/>
          </ac:grpSpMkLst>
        </pc:grpChg>
        <pc:graphicFrameChg chg="del">
          <ac:chgData name="KATI SUOMINEN" userId="173c33f31711fa31" providerId="LiveId" clId="{194AC65F-6DFA-411A-BFD2-548172DA252F}" dt="2023-10-25T02:23:07.169" v="378" actId="478"/>
          <ac:graphicFrameMkLst>
            <pc:docMk/>
            <pc:sldMk cId="3107557847" sldId="271"/>
            <ac:graphicFrameMk id="6" creationId="{2CC370D5-548C-A545-AB42-AC40CAF7ED9A}"/>
          </ac:graphicFrameMkLst>
        </pc:graphicFrameChg>
        <pc:graphicFrameChg chg="del">
          <ac:chgData name="KATI SUOMINEN" userId="173c33f31711fa31" providerId="LiveId" clId="{194AC65F-6DFA-411A-BFD2-548172DA252F}" dt="2023-10-25T02:23:05.368" v="377" actId="478"/>
          <ac:graphicFrameMkLst>
            <pc:docMk/>
            <pc:sldMk cId="3107557847" sldId="271"/>
            <ac:graphicFrameMk id="15" creationId="{861A0B3A-5177-8F19-AC6F-6407A4935649}"/>
          </ac:graphicFrameMkLst>
        </pc:graphicFrameChg>
        <pc:picChg chg="add del mod modCrop">
          <ac:chgData name="KATI SUOMINEN" userId="173c33f31711fa31" providerId="LiveId" clId="{194AC65F-6DFA-411A-BFD2-548172DA252F}" dt="2023-10-25T03:55:15.507" v="728" actId="478"/>
          <ac:picMkLst>
            <pc:docMk/>
            <pc:sldMk cId="3107557847" sldId="271"/>
            <ac:picMk id="8" creationId="{5936F8E1-6005-9453-C3BE-4B03F4A4E6FD}"/>
          </ac:picMkLst>
        </pc:picChg>
        <pc:picChg chg="add mod">
          <ac:chgData name="KATI SUOMINEN" userId="173c33f31711fa31" providerId="LiveId" clId="{194AC65F-6DFA-411A-BFD2-548172DA252F}" dt="2023-10-25T08:57:41.476" v="1510" actId="14100"/>
          <ac:picMkLst>
            <pc:docMk/>
            <pc:sldMk cId="3107557847" sldId="271"/>
            <ac:picMk id="9" creationId="{1A3D7443-1583-28A5-94D4-758A9771D7AE}"/>
          </ac:picMkLst>
        </pc:picChg>
        <pc:picChg chg="add del">
          <ac:chgData name="KATI SUOMINEN" userId="173c33f31711fa31" providerId="LiveId" clId="{194AC65F-6DFA-411A-BFD2-548172DA252F}" dt="2023-10-25T03:59:38.239" v="744" actId="478"/>
          <ac:picMkLst>
            <pc:docMk/>
            <pc:sldMk cId="3107557847" sldId="271"/>
            <ac:picMk id="10" creationId="{1EF811EA-875C-525C-B091-39565A670DD3}"/>
          </ac:picMkLst>
        </pc:picChg>
        <pc:picChg chg="add del mod modCrop">
          <ac:chgData name="KATI SUOMINEN" userId="173c33f31711fa31" providerId="LiveId" clId="{194AC65F-6DFA-411A-BFD2-548172DA252F}" dt="2023-10-25T03:59:36.950" v="743" actId="478"/>
          <ac:picMkLst>
            <pc:docMk/>
            <pc:sldMk cId="3107557847" sldId="271"/>
            <ac:picMk id="17" creationId="{2CD106D0-C1BE-0BC5-0889-1D79344CC1A0}"/>
          </ac:picMkLst>
        </pc:picChg>
        <pc:picChg chg="add mod">
          <ac:chgData name="KATI SUOMINEN" userId="173c33f31711fa31" providerId="LiveId" clId="{194AC65F-6DFA-411A-BFD2-548172DA252F}" dt="2023-10-25T10:40:42.684" v="1586" actId="1076"/>
          <ac:picMkLst>
            <pc:docMk/>
            <pc:sldMk cId="3107557847" sldId="271"/>
            <ac:picMk id="18" creationId="{0B5AC18F-2947-F462-C8A8-18D65FA0A9D7}"/>
          </ac:picMkLst>
        </pc:picChg>
      </pc:sldChg>
      <pc:sldChg chg="addSp delSp modSp add del mod ord">
        <pc:chgData name="KATI SUOMINEN" userId="173c33f31711fa31" providerId="LiveId" clId="{194AC65F-6DFA-411A-BFD2-548172DA252F}" dt="2023-10-25T10:34:50.199" v="1517" actId="47"/>
        <pc:sldMkLst>
          <pc:docMk/>
          <pc:sldMk cId="4095557173" sldId="272"/>
        </pc:sldMkLst>
        <pc:spChg chg="mod">
          <ac:chgData name="KATI SUOMINEN" userId="173c33f31711fa31" providerId="LiveId" clId="{194AC65F-6DFA-411A-BFD2-548172DA252F}" dt="2023-10-25T03:11:02.558" v="495" actId="20577"/>
          <ac:spMkLst>
            <pc:docMk/>
            <pc:sldMk cId="4095557173" sldId="272"/>
            <ac:spMk id="2" creationId="{46ADEA92-BC0F-7CEE-B849-EA80A506A3B8}"/>
          </ac:spMkLst>
        </pc:spChg>
        <pc:spChg chg="mod">
          <ac:chgData name="KATI SUOMINEN" userId="173c33f31711fa31" providerId="LiveId" clId="{194AC65F-6DFA-411A-BFD2-548172DA252F}" dt="2023-10-25T06:21:43.276" v="1359" actId="20577"/>
          <ac:spMkLst>
            <pc:docMk/>
            <pc:sldMk cId="4095557173" sldId="272"/>
            <ac:spMk id="5" creationId="{5485BE4E-B44F-84B6-B885-C181067F8175}"/>
          </ac:spMkLst>
        </pc:spChg>
        <pc:spChg chg="add mod">
          <ac:chgData name="KATI SUOMINEN" userId="173c33f31711fa31" providerId="LiveId" clId="{194AC65F-6DFA-411A-BFD2-548172DA252F}" dt="2023-10-25T06:21:47.300" v="1360" actId="14100"/>
          <ac:spMkLst>
            <pc:docMk/>
            <pc:sldMk cId="4095557173" sldId="272"/>
            <ac:spMk id="6" creationId="{BD4FB9C1-7866-131C-F70F-E753765245C1}"/>
          </ac:spMkLst>
        </pc:spChg>
        <pc:spChg chg="mod">
          <ac:chgData name="KATI SUOMINEN" userId="173c33f31711fa31" providerId="LiveId" clId="{194AC65F-6DFA-411A-BFD2-548172DA252F}" dt="2023-10-25T06:20:57.754" v="1279" actId="20577"/>
          <ac:spMkLst>
            <pc:docMk/>
            <pc:sldMk cId="4095557173" sldId="272"/>
            <ac:spMk id="9" creationId="{05AB56E6-7590-153D-4971-2C460A3ABA3C}"/>
          </ac:spMkLst>
        </pc:spChg>
        <pc:spChg chg="mod">
          <ac:chgData name="KATI SUOMINEN" userId="173c33f31711fa31" providerId="LiveId" clId="{194AC65F-6DFA-411A-BFD2-548172DA252F}" dt="2023-10-25T06:21:31.980" v="1357" actId="20577"/>
          <ac:spMkLst>
            <pc:docMk/>
            <pc:sldMk cId="4095557173" sldId="272"/>
            <ac:spMk id="11" creationId="{6DA85451-8AAB-3E38-3041-2850A605918A}"/>
          </ac:spMkLst>
        </pc:spChg>
        <pc:grpChg chg="mod">
          <ac:chgData name="KATI SUOMINEN" userId="173c33f31711fa31" providerId="LiveId" clId="{194AC65F-6DFA-411A-BFD2-548172DA252F}" dt="2023-10-25T04:12:37.316" v="907" actId="1076"/>
          <ac:grpSpMkLst>
            <pc:docMk/>
            <pc:sldMk cId="4095557173" sldId="272"/>
            <ac:grpSpMk id="3" creationId="{E6C11376-AED0-3746-554F-CA39B6C5CE32}"/>
          </ac:grpSpMkLst>
        </pc:grpChg>
        <pc:grpChg chg="mod">
          <ac:chgData name="KATI SUOMINEN" userId="173c33f31711fa31" providerId="LiveId" clId="{194AC65F-6DFA-411A-BFD2-548172DA252F}" dt="2023-10-25T04:12:39.201" v="908" actId="1076"/>
          <ac:grpSpMkLst>
            <pc:docMk/>
            <pc:sldMk cId="4095557173" sldId="272"/>
            <ac:grpSpMk id="7" creationId="{C8406547-8FF5-ACC2-A1B1-E8EDA2867F52}"/>
          </ac:grpSpMkLst>
        </pc:grpChg>
        <pc:graphicFrameChg chg="del">
          <ac:chgData name="KATI SUOMINEN" userId="173c33f31711fa31" providerId="LiveId" clId="{194AC65F-6DFA-411A-BFD2-548172DA252F}" dt="2023-10-25T02:24:00.973" v="484" actId="478"/>
          <ac:graphicFrameMkLst>
            <pc:docMk/>
            <pc:sldMk cId="4095557173" sldId="272"/>
            <ac:graphicFrameMk id="12" creationId="{2EBBB47B-9FFA-9944-9048-BA7217754F3A}"/>
          </ac:graphicFrameMkLst>
        </pc:graphicFrameChg>
        <pc:graphicFrameChg chg="del">
          <ac:chgData name="KATI SUOMINEN" userId="173c33f31711fa31" providerId="LiveId" clId="{194AC65F-6DFA-411A-BFD2-548172DA252F}" dt="2023-10-25T02:24:00.973" v="484" actId="478"/>
          <ac:graphicFrameMkLst>
            <pc:docMk/>
            <pc:sldMk cId="4095557173" sldId="272"/>
            <ac:graphicFrameMk id="15" creationId="{F456D3B0-5949-DC4E-B3A0-1D508FD9F71B}"/>
          </ac:graphicFrameMkLst>
        </pc:graphicFrameChg>
        <pc:graphicFrameChg chg="del">
          <ac:chgData name="KATI SUOMINEN" userId="173c33f31711fa31" providerId="LiveId" clId="{194AC65F-6DFA-411A-BFD2-548172DA252F}" dt="2023-10-25T02:24:03.263" v="485" actId="478"/>
          <ac:graphicFrameMkLst>
            <pc:docMk/>
            <pc:sldMk cId="4095557173" sldId="272"/>
            <ac:graphicFrameMk id="16" creationId="{1C85BA5F-B7DC-684A-B483-A8146D082ABD}"/>
          </ac:graphicFrameMkLst>
        </pc:graphicFrameChg>
      </pc:sldChg>
      <pc:sldChg chg="addSp delSp modSp add mod ord">
        <pc:chgData name="KATI SUOMINEN" userId="173c33f31711fa31" providerId="LiveId" clId="{194AC65F-6DFA-411A-BFD2-548172DA252F}" dt="2023-10-25T10:40:02.305" v="1581"/>
        <pc:sldMkLst>
          <pc:docMk/>
          <pc:sldMk cId="425916458" sldId="273"/>
        </pc:sldMkLst>
        <pc:spChg chg="add del mod">
          <ac:chgData name="KATI SUOMINEN" userId="173c33f31711fa31" providerId="LiveId" clId="{194AC65F-6DFA-411A-BFD2-548172DA252F}" dt="2023-10-25T10:39:58.349" v="1579" actId="478"/>
          <ac:spMkLst>
            <pc:docMk/>
            <pc:sldMk cId="425916458" sldId="273"/>
            <ac:spMk id="8" creationId="{636EE4D0-00CB-5F28-9CF4-9B5CC63C290B}"/>
          </ac:spMkLst>
        </pc:spChg>
        <pc:picChg chg="add del mod modCrop">
          <ac:chgData name="KATI SUOMINEN" userId="173c33f31711fa31" providerId="LiveId" clId="{194AC65F-6DFA-411A-BFD2-548172DA252F}" dt="2023-10-25T10:39:53.858" v="1578" actId="478"/>
          <ac:picMkLst>
            <pc:docMk/>
            <pc:sldMk cId="425916458" sldId="273"/>
            <ac:picMk id="10" creationId="{C10804F5-5002-687F-70A9-324E46013138}"/>
          </ac:picMkLst>
        </pc:picChg>
      </pc:sldChg>
      <pc:sldChg chg="addSp delSp modSp add mod ord">
        <pc:chgData name="KATI SUOMINEN" userId="173c33f31711fa31" providerId="LiveId" clId="{194AC65F-6DFA-411A-BFD2-548172DA252F}" dt="2023-10-25T11:02:51.240" v="1867" actId="20577"/>
        <pc:sldMkLst>
          <pc:docMk/>
          <pc:sldMk cId="213831912" sldId="274"/>
        </pc:sldMkLst>
        <pc:spChg chg="del">
          <ac:chgData name="KATI SUOMINEN" userId="173c33f31711fa31" providerId="LiveId" clId="{194AC65F-6DFA-411A-BFD2-548172DA252F}" dt="2023-10-25T03:42:28.753" v="706" actId="478"/>
          <ac:spMkLst>
            <pc:docMk/>
            <pc:sldMk cId="213831912" sldId="274"/>
            <ac:spMk id="2" creationId="{46ADEA92-BC0F-7CEE-B849-EA80A506A3B8}"/>
          </ac:spMkLst>
        </pc:spChg>
        <pc:spChg chg="mod">
          <ac:chgData name="KATI SUOMINEN" userId="173c33f31711fa31" providerId="LiveId" clId="{194AC65F-6DFA-411A-BFD2-548172DA252F}" dt="2023-10-25T03:40:32.684" v="694" actId="1076"/>
          <ac:spMkLst>
            <pc:docMk/>
            <pc:sldMk cId="213831912" sldId="274"/>
            <ac:spMk id="5" creationId="{5485BE4E-B44F-84B6-B885-C181067F8175}"/>
          </ac:spMkLst>
        </pc:spChg>
        <pc:spChg chg="topLvl">
          <ac:chgData name="KATI SUOMINEN" userId="173c33f31711fa31" providerId="LiveId" clId="{194AC65F-6DFA-411A-BFD2-548172DA252F}" dt="2023-10-25T03:41:57.228" v="703" actId="478"/>
          <ac:spMkLst>
            <pc:docMk/>
            <pc:sldMk cId="213831912" sldId="274"/>
            <ac:spMk id="8" creationId="{C6D19E47-1388-6F36-A8FB-26248E496537}"/>
          </ac:spMkLst>
        </pc:spChg>
        <pc:spChg chg="del topLvl">
          <ac:chgData name="KATI SUOMINEN" userId="173c33f31711fa31" providerId="LiveId" clId="{194AC65F-6DFA-411A-BFD2-548172DA252F}" dt="2023-10-25T03:41:57.228" v="703" actId="478"/>
          <ac:spMkLst>
            <pc:docMk/>
            <pc:sldMk cId="213831912" sldId="274"/>
            <ac:spMk id="9" creationId="{05AB56E6-7590-153D-4971-2C460A3ABA3C}"/>
          </ac:spMkLst>
        </pc:spChg>
        <pc:spChg chg="add mod">
          <ac:chgData name="KATI SUOMINEN" userId="173c33f31711fa31" providerId="LiveId" clId="{194AC65F-6DFA-411A-BFD2-548172DA252F}" dt="2023-10-25T11:02:46.395" v="1865" actId="1076"/>
          <ac:spMkLst>
            <pc:docMk/>
            <pc:sldMk cId="213831912" sldId="274"/>
            <ac:spMk id="10" creationId="{3D98EF8E-6847-85E9-578E-385A71BCBAAE}"/>
          </ac:spMkLst>
        </pc:spChg>
        <pc:spChg chg="mod">
          <ac:chgData name="KATI SUOMINEN" userId="173c33f31711fa31" providerId="LiveId" clId="{194AC65F-6DFA-411A-BFD2-548172DA252F}" dt="2023-10-25T11:02:51.240" v="1867" actId="20577"/>
          <ac:spMkLst>
            <pc:docMk/>
            <pc:sldMk cId="213831912" sldId="274"/>
            <ac:spMk id="11" creationId="{6DA85451-8AAB-3E38-3041-2850A605918A}"/>
          </ac:spMkLst>
        </pc:spChg>
        <pc:grpChg chg="del">
          <ac:chgData name="KATI SUOMINEN" userId="173c33f31711fa31" providerId="LiveId" clId="{194AC65F-6DFA-411A-BFD2-548172DA252F}" dt="2023-10-25T03:42:26.501" v="705" actId="478"/>
          <ac:grpSpMkLst>
            <pc:docMk/>
            <pc:sldMk cId="213831912" sldId="274"/>
            <ac:grpSpMk id="3" creationId="{E6C11376-AED0-3746-554F-CA39B6C5CE32}"/>
          </ac:grpSpMkLst>
        </pc:grpChg>
        <pc:grpChg chg="del">
          <ac:chgData name="KATI SUOMINEN" userId="173c33f31711fa31" providerId="LiveId" clId="{194AC65F-6DFA-411A-BFD2-548172DA252F}" dt="2023-10-25T03:41:57.228" v="703" actId="478"/>
          <ac:grpSpMkLst>
            <pc:docMk/>
            <pc:sldMk cId="213831912" sldId="274"/>
            <ac:grpSpMk id="7" creationId="{C8406547-8FF5-ACC2-A1B1-E8EDA2867F52}"/>
          </ac:grpSpMkLst>
        </pc:grpChg>
        <pc:graphicFrameChg chg="del">
          <ac:chgData name="KATI SUOMINEN" userId="173c33f31711fa31" providerId="LiveId" clId="{194AC65F-6DFA-411A-BFD2-548172DA252F}" dt="2023-10-25T03:29:17.215" v="648" actId="478"/>
          <ac:graphicFrameMkLst>
            <pc:docMk/>
            <pc:sldMk cId="213831912" sldId="274"/>
            <ac:graphicFrameMk id="12" creationId="{2EBBB47B-9FFA-9944-9048-BA7217754F3A}"/>
          </ac:graphicFrameMkLst>
        </pc:graphicFrameChg>
        <pc:graphicFrameChg chg="del">
          <ac:chgData name="KATI SUOMINEN" userId="173c33f31711fa31" providerId="LiveId" clId="{194AC65F-6DFA-411A-BFD2-548172DA252F}" dt="2023-10-25T03:31:34.921" v="693" actId="478"/>
          <ac:graphicFrameMkLst>
            <pc:docMk/>
            <pc:sldMk cId="213831912" sldId="274"/>
            <ac:graphicFrameMk id="15" creationId="{F456D3B0-5949-DC4E-B3A0-1D508FD9F71B}"/>
          </ac:graphicFrameMkLst>
        </pc:graphicFrameChg>
        <pc:graphicFrameChg chg="del">
          <ac:chgData name="KATI SUOMINEN" userId="173c33f31711fa31" providerId="LiveId" clId="{194AC65F-6DFA-411A-BFD2-548172DA252F}" dt="2023-10-25T03:31:34.921" v="693" actId="478"/>
          <ac:graphicFrameMkLst>
            <pc:docMk/>
            <pc:sldMk cId="213831912" sldId="274"/>
            <ac:graphicFrameMk id="16" creationId="{1C85BA5F-B7DC-684A-B483-A8146D082ABD}"/>
          </ac:graphicFrameMkLst>
        </pc:graphicFrameChg>
        <pc:picChg chg="add mod modCrop">
          <ac:chgData name="KATI SUOMINEN" userId="173c33f31711fa31" providerId="LiveId" clId="{194AC65F-6DFA-411A-BFD2-548172DA252F}" dt="2023-10-25T11:02:48.823" v="1866" actId="1076"/>
          <ac:picMkLst>
            <pc:docMk/>
            <pc:sldMk cId="213831912" sldId="274"/>
            <ac:picMk id="6" creationId="{368DA70B-7C13-3403-A978-F4665F89E8E9}"/>
          </ac:picMkLst>
        </pc:picChg>
      </pc:sldChg>
      <pc:sldChg chg="modSp add mod ord">
        <pc:chgData name="KATI SUOMINEN" userId="173c33f31711fa31" providerId="LiveId" clId="{194AC65F-6DFA-411A-BFD2-548172DA252F}" dt="2023-10-25T10:43:07.195" v="1645" actId="6549"/>
        <pc:sldMkLst>
          <pc:docMk/>
          <pc:sldMk cId="3267983773" sldId="2975"/>
        </pc:sldMkLst>
        <pc:spChg chg="mod">
          <ac:chgData name="KATI SUOMINEN" userId="173c33f31711fa31" providerId="LiveId" clId="{194AC65F-6DFA-411A-BFD2-548172DA252F}" dt="2023-10-25T10:43:07.195" v="1645" actId="6549"/>
          <ac:spMkLst>
            <pc:docMk/>
            <pc:sldMk cId="3267983773" sldId="2975"/>
            <ac:spMk id="3" creationId="{D63C6461-AF26-4A49-BA9D-F74C52269E6E}"/>
          </ac:spMkLst>
        </pc:spChg>
      </pc:sldChg>
      <pc:sldChg chg="modSp ord">
        <pc:chgData name="KATI SUOMINEN" userId="173c33f31711fa31" providerId="LiveId" clId="{194AC65F-6DFA-411A-BFD2-548172DA252F}" dt="2023-10-25T10:43:30.345" v="1651"/>
        <pc:sldMkLst>
          <pc:docMk/>
          <pc:sldMk cId="1259578373" sldId="26440"/>
        </pc:sldMkLst>
        <pc:graphicFrameChg chg="mod">
          <ac:chgData name="KATI SUOMINEN" userId="173c33f31711fa31" providerId="LiveId" clId="{194AC65F-6DFA-411A-BFD2-548172DA252F}" dt="2023-10-25T03:43:23.932" v="717" actId="207"/>
          <ac:graphicFrameMkLst>
            <pc:docMk/>
            <pc:sldMk cId="1259578373" sldId="26440"/>
            <ac:graphicFrameMk id="9" creationId="{8F281827-5AB9-532B-4E86-2D739549F312}"/>
          </ac:graphicFrameMkLst>
        </pc:graphicFrameChg>
      </pc:sldChg>
      <pc:sldChg chg="addSp delSp modSp new mod">
        <pc:chgData name="KATI SUOMINEN" userId="173c33f31711fa31" providerId="LiveId" clId="{194AC65F-6DFA-411A-BFD2-548172DA252F}" dt="2023-10-25T10:41:22.852" v="1619" actId="6549"/>
        <pc:sldMkLst>
          <pc:docMk/>
          <pc:sldMk cId="1795766759" sldId="26441"/>
        </pc:sldMkLst>
        <pc:spChg chg="add mod">
          <ac:chgData name="KATI SUOMINEN" userId="173c33f31711fa31" providerId="LiveId" clId="{194AC65F-6DFA-411A-BFD2-548172DA252F}" dt="2023-10-25T10:41:22.852" v="1619" actId="6549"/>
          <ac:spMkLst>
            <pc:docMk/>
            <pc:sldMk cId="1795766759" sldId="26441"/>
            <ac:spMk id="3" creationId="{A364BD6E-A482-47EA-07DF-4A9B233E5CF5}"/>
          </ac:spMkLst>
        </pc:spChg>
        <pc:spChg chg="add del">
          <ac:chgData name="KATI SUOMINEN" userId="173c33f31711fa31" providerId="LiveId" clId="{194AC65F-6DFA-411A-BFD2-548172DA252F}" dt="2023-10-25T10:41:04.770" v="1588" actId="22"/>
          <ac:spMkLst>
            <pc:docMk/>
            <pc:sldMk cId="1795766759" sldId="26441"/>
            <ac:spMk id="5" creationId="{BBAD04BA-1EC8-FF4F-F80E-A1701267A52E}"/>
          </ac:spMkLst>
        </pc:spChg>
        <pc:picChg chg="add mod">
          <ac:chgData name="KATI SUOMINEN" userId="173c33f31711fa31" providerId="LiveId" clId="{194AC65F-6DFA-411A-BFD2-548172DA252F}" dt="2023-10-25T10:41:17.636" v="1603" actId="1076"/>
          <ac:picMkLst>
            <pc:docMk/>
            <pc:sldMk cId="1795766759" sldId="26441"/>
            <ac:picMk id="2" creationId="{CCF33285-7F4C-26D4-C2EC-28C6307061BA}"/>
          </ac:picMkLst>
        </pc:picChg>
      </pc:sldChg>
      <pc:sldChg chg="modSp mod ord">
        <pc:chgData name="KATI SUOMINEN" userId="173c33f31711fa31" providerId="LiveId" clId="{194AC65F-6DFA-411A-BFD2-548172DA252F}" dt="2023-10-25T10:42:42.097" v="1634"/>
        <pc:sldMkLst>
          <pc:docMk/>
          <pc:sldMk cId="2470316420" sldId="26458"/>
        </pc:sldMkLst>
        <pc:spChg chg="mod">
          <ac:chgData name="KATI SUOMINEN" userId="173c33f31711fa31" providerId="LiveId" clId="{194AC65F-6DFA-411A-BFD2-548172DA252F}" dt="2023-10-25T08:05:46.042" v="1390" actId="6549"/>
          <ac:spMkLst>
            <pc:docMk/>
            <pc:sldMk cId="2470316420" sldId="26458"/>
            <ac:spMk id="4" creationId="{E71CAC22-3AD2-4BED-8FE3-8323D3370E18}"/>
          </ac:spMkLst>
        </pc:spChg>
      </pc:sldChg>
      <pc:sldChg chg="modSp mod ord">
        <pc:chgData name="KATI SUOMINEN" userId="173c33f31711fa31" providerId="LiveId" clId="{194AC65F-6DFA-411A-BFD2-548172DA252F}" dt="2023-10-25T10:43:21.369" v="1649"/>
        <pc:sldMkLst>
          <pc:docMk/>
          <pc:sldMk cId="1768432821" sldId="26547"/>
        </pc:sldMkLst>
        <pc:spChg chg="mod">
          <ac:chgData name="KATI SUOMINEN" userId="173c33f31711fa31" providerId="LiveId" clId="{194AC65F-6DFA-411A-BFD2-548172DA252F}" dt="2023-10-25T08:05:34.050" v="1370" actId="20577"/>
          <ac:spMkLst>
            <pc:docMk/>
            <pc:sldMk cId="1768432821" sldId="26547"/>
            <ac:spMk id="3" creationId="{D63C6461-AF26-4A49-BA9D-F74C52269E6E}"/>
          </ac:spMkLst>
        </pc:spChg>
      </pc:sldChg>
      <pc:sldChg chg="modSp add mod">
        <pc:chgData name="KATI SUOMINEN" userId="173c33f31711fa31" providerId="LiveId" clId="{194AC65F-6DFA-411A-BFD2-548172DA252F}" dt="2023-10-25T10:42:29.970" v="1630" actId="20577"/>
        <pc:sldMkLst>
          <pc:docMk/>
          <pc:sldMk cId="854981675" sldId="26548"/>
        </pc:sldMkLst>
        <pc:spChg chg="mod">
          <ac:chgData name="KATI SUOMINEN" userId="173c33f31711fa31" providerId="LiveId" clId="{194AC65F-6DFA-411A-BFD2-548172DA252F}" dt="2023-10-25T10:42:29.970" v="1630" actId="20577"/>
          <ac:spMkLst>
            <pc:docMk/>
            <pc:sldMk cId="854981675" sldId="26548"/>
            <ac:spMk id="3" creationId="{D63C6461-AF26-4A49-BA9D-F74C52269E6E}"/>
          </ac:spMkLst>
        </pc:spChg>
      </pc:sldChg>
      <pc:sldChg chg="add">
        <pc:chgData name="KATI SUOMINEN" userId="173c33f31711fa31" providerId="LiveId" clId="{194AC65F-6DFA-411A-BFD2-548172DA252F}" dt="2023-10-25T08:39:43.798" v="1447"/>
        <pc:sldMkLst>
          <pc:docMk/>
          <pc:sldMk cId="4029707245" sldId="26549"/>
        </pc:sldMkLst>
      </pc:sldChg>
      <pc:sldChg chg="addSp modSp mod">
        <pc:chgData name="KATI SUOMINEN" userId="173c33f31711fa31" providerId="LiveId" clId="{194AC65F-6DFA-411A-BFD2-548172DA252F}" dt="2023-10-25T10:45:23.129" v="1670"/>
        <pc:sldMkLst>
          <pc:docMk/>
          <pc:sldMk cId="3194203416" sldId="26563"/>
        </pc:sldMkLst>
        <pc:spChg chg="add mod">
          <ac:chgData name="KATI SUOMINEN" userId="173c33f31711fa31" providerId="LiveId" clId="{194AC65F-6DFA-411A-BFD2-548172DA252F}" dt="2023-10-25T06:15:18.961" v="1214" actId="20577"/>
          <ac:spMkLst>
            <pc:docMk/>
            <pc:sldMk cId="3194203416" sldId="26563"/>
            <ac:spMk id="2" creationId="{3FCF8B51-7A1A-D28E-A991-6EEC5F2CEE93}"/>
          </ac:spMkLst>
        </pc:spChg>
        <pc:spChg chg="mod">
          <ac:chgData name="KATI SUOMINEN" userId="173c33f31711fa31" providerId="LiveId" clId="{194AC65F-6DFA-411A-BFD2-548172DA252F}" dt="2023-10-25T06:04:34.363" v="1004" actId="20577"/>
          <ac:spMkLst>
            <pc:docMk/>
            <pc:sldMk cId="3194203416" sldId="26563"/>
            <ac:spMk id="5" creationId="{E9C6D229-76DD-D73A-D421-4D64B7D7215C}"/>
          </ac:spMkLst>
        </pc:spChg>
        <pc:spChg chg="mod">
          <ac:chgData name="KATI SUOMINEN" userId="173c33f31711fa31" providerId="LiveId" clId="{194AC65F-6DFA-411A-BFD2-548172DA252F}" dt="2023-10-25T06:04:37.797" v="1008" actId="20577"/>
          <ac:spMkLst>
            <pc:docMk/>
            <pc:sldMk cId="3194203416" sldId="26563"/>
            <ac:spMk id="6" creationId="{28685C45-D48D-0E79-DF8C-255429D2BEA6}"/>
          </ac:spMkLst>
        </pc:spChg>
        <pc:graphicFrameChg chg="mod">
          <ac:chgData name="KATI SUOMINEN" userId="173c33f31711fa31" providerId="LiveId" clId="{194AC65F-6DFA-411A-BFD2-548172DA252F}" dt="2023-10-25T10:45:23.129" v="1670"/>
          <ac:graphicFrameMkLst>
            <pc:docMk/>
            <pc:sldMk cId="3194203416" sldId="26563"/>
            <ac:graphicFrameMk id="3" creationId="{C1BF317C-D276-4782-B941-58C4D99F83CD}"/>
          </ac:graphicFrameMkLst>
        </pc:graphicFrameChg>
      </pc:sldChg>
      <pc:sldChg chg="addSp modSp mod">
        <pc:chgData name="KATI SUOMINEN" userId="173c33f31711fa31" providerId="LiveId" clId="{194AC65F-6DFA-411A-BFD2-548172DA252F}" dt="2023-10-25T10:40:32.871" v="1585" actId="14100"/>
        <pc:sldMkLst>
          <pc:docMk/>
          <pc:sldMk cId="1715792884" sldId="26564"/>
        </pc:sldMkLst>
        <pc:spChg chg="add mod">
          <ac:chgData name="KATI SUOMINEN" userId="173c33f31711fa31" providerId="LiveId" clId="{194AC65F-6DFA-411A-BFD2-548172DA252F}" dt="2023-10-25T06:15:27.327" v="1216" actId="1076"/>
          <ac:spMkLst>
            <pc:docMk/>
            <pc:sldMk cId="1715792884" sldId="26564"/>
            <ac:spMk id="3" creationId="{4E9B941D-C454-1E51-D011-41203C68A3BB}"/>
          </ac:spMkLst>
        </pc:spChg>
        <pc:graphicFrameChg chg="mod">
          <ac:chgData name="KATI SUOMINEN" userId="173c33f31711fa31" providerId="LiveId" clId="{194AC65F-6DFA-411A-BFD2-548172DA252F}" dt="2023-10-25T10:40:32.871" v="1585" actId="14100"/>
          <ac:graphicFrameMkLst>
            <pc:docMk/>
            <pc:sldMk cId="1715792884" sldId="26564"/>
            <ac:graphicFrameMk id="2" creationId="{C28E86E3-1053-48DE-AE53-124D4FF095DB}"/>
          </ac:graphicFrameMkLst>
        </pc:graphicFrameChg>
      </pc:sldChg>
      <pc:sldChg chg="addSp modSp new mod ord">
        <pc:chgData name="KATI SUOMINEN" userId="173c33f31711fa31" providerId="LiveId" clId="{194AC65F-6DFA-411A-BFD2-548172DA252F}" dt="2023-10-25T10:42:37.375" v="1632"/>
        <pc:sldMkLst>
          <pc:docMk/>
          <pc:sldMk cId="729699282" sldId="26565"/>
        </pc:sldMkLst>
        <pc:spChg chg="add mod">
          <ac:chgData name="KATI SUOMINEN" userId="173c33f31711fa31" providerId="LiveId" clId="{194AC65F-6DFA-411A-BFD2-548172DA252F}" dt="2023-10-25T08:41:41.736" v="1474" actId="20577"/>
          <ac:spMkLst>
            <pc:docMk/>
            <pc:sldMk cId="729699282" sldId="26565"/>
            <ac:spMk id="3" creationId="{0CBE7ECF-8630-E29D-6907-D55614D1BC72}"/>
          </ac:spMkLst>
        </pc:spChg>
        <pc:spChg chg="add mod">
          <ac:chgData name="KATI SUOMINEN" userId="173c33f31711fa31" providerId="LiveId" clId="{194AC65F-6DFA-411A-BFD2-548172DA252F}" dt="2023-10-25T06:07:17.952" v="1035" actId="1076"/>
          <ac:spMkLst>
            <pc:docMk/>
            <pc:sldMk cId="729699282" sldId="26565"/>
            <ac:spMk id="4" creationId="{72249501-1D7D-13B2-84FB-BDF34B8981AD}"/>
          </ac:spMkLst>
        </pc:spChg>
        <pc:spChg chg="add mod">
          <ac:chgData name="KATI SUOMINEN" userId="173c33f31711fa31" providerId="LiveId" clId="{194AC65F-6DFA-411A-BFD2-548172DA252F}" dt="2023-10-25T08:41:51.966" v="1475" actId="1076"/>
          <ac:spMkLst>
            <pc:docMk/>
            <pc:sldMk cId="729699282" sldId="26565"/>
            <ac:spMk id="7" creationId="{1444330D-6A98-43A6-0986-C2EE4CA0B4BF}"/>
          </ac:spMkLst>
        </pc:spChg>
        <pc:spChg chg="add mod">
          <ac:chgData name="KATI SUOMINEN" userId="173c33f31711fa31" providerId="LiveId" clId="{194AC65F-6DFA-411A-BFD2-548172DA252F}" dt="2023-10-25T06:07:50.978" v="1143" actId="20577"/>
          <ac:spMkLst>
            <pc:docMk/>
            <pc:sldMk cId="729699282" sldId="26565"/>
            <ac:spMk id="8" creationId="{704F34A1-F91B-BE81-B3D4-D74B27356CD4}"/>
          </ac:spMkLst>
        </pc:spChg>
        <pc:picChg chg="add mod">
          <ac:chgData name="KATI SUOMINEN" userId="173c33f31711fa31" providerId="LiveId" clId="{194AC65F-6DFA-411A-BFD2-548172DA252F}" dt="2023-10-25T08:57:26.145" v="1508" actId="1076"/>
          <ac:picMkLst>
            <pc:docMk/>
            <pc:sldMk cId="729699282" sldId="26565"/>
            <ac:picMk id="2" creationId="{FF634944-821C-0597-129E-C24511F70393}"/>
          </ac:picMkLst>
        </pc:picChg>
        <pc:picChg chg="add mod">
          <ac:chgData name="KATI SUOMINEN" userId="173c33f31711fa31" providerId="LiveId" clId="{194AC65F-6DFA-411A-BFD2-548172DA252F}" dt="2023-10-25T08:41:56.658" v="1478" actId="14100"/>
          <ac:picMkLst>
            <pc:docMk/>
            <pc:sldMk cId="729699282" sldId="26565"/>
            <ac:picMk id="5" creationId="{6DCED258-1878-481D-2A06-8792DF831937}"/>
          </ac:picMkLst>
        </pc:picChg>
      </pc:sldChg>
      <pc:sldChg chg="addSp delSp modSp add mod">
        <pc:chgData name="KATI SUOMINEN" userId="173c33f31711fa31" providerId="LiveId" clId="{194AC65F-6DFA-411A-BFD2-548172DA252F}" dt="2023-10-25T10:54:38.084" v="1813" actId="14100"/>
        <pc:sldMkLst>
          <pc:docMk/>
          <pc:sldMk cId="3888130552" sldId="26566"/>
        </pc:sldMkLst>
        <pc:spChg chg="mod">
          <ac:chgData name="KATI SUOMINEN" userId="173c33f31711fa31" providerId="LiveId" clId="{194AC65F-6DFA-411A-BFD2-548172DA252F}" dt="2023-10-25T10:54:18.138" v="1805" actId="113"/>
          <ac:spMkLst>
            <pc:docMk/>
            <pc:sldMk cId="3888130552" sldId="26566"/>
            <ac:spMk id="6" creationId="{BD4FB9C1-7866-131C-F70F-E753765245C1}"/>
          </ac:spMkLst>
        </pc:spChg>
        <pc:grpChg chg="mod">
          <ac:chgData name="KATI SUOMINEN" userId="173c33f31711fa31" providerId="LiveId" clId="{194AC65F-6DFA-411A-BFD2-548172DA252F}" dt="2023-10-25T10:54:20.489" v="1806" actId="1076"/>
          <ac:grpSpMkLst>
            <pc:docMk/>
            <pc:sldMk cId="3888130552" sldId="26566"/>
            <ac:grpSpMk id="3" creationId="{E6C11376-AED0-3746-554F-CA39B6C5CE32}"/>
          </ac:grpSpMkLst>
        </pc:grpChg>
        <pc:grpChg chg="mod">
          <ac:chgData name="KATI SUOMINEN" userId="173c33f31711fa31" providerId="LiveId" clId="{194AC65F-6DFA-411A-BFD2-548172DA252F}" dt="2023-10-25T10:52:47.858" v="1781" actId="1076"/>
          <ac:grpSpMkLst>
            <pc:docMk/>
            <pc:sldMk cId="3888130552" sldId="26566"/>
            <ac:grpSpMk id="7" creationId="{C8406547-8FF5-ACC2-A1B1-E8EDA2867F52}"/>
          </ac:grpSpMkLst>
        </pc:grpChg>
        <pc:graphicFrameChg chg="del mod">
          <ac:chgData name="KATI SUOMINEN" userId="173c33f31711fa31" providerId="LiveId" clId="{194AC65F-6DFA-411A-BFD2-548172DA252F}" dt="2023-10-25T10:52:12.339" v="1764" actId="478"/>
          <ac:graphicFrameMkLst>
            <pc:docMk/>
            <pc:sldMk cId="3888130552" sldId="26566"/>
            <ac:graphicFrameMk id="10" creationId="{36F27D76-EB06-5D71-D677-28655A37C4D9}"/>
          </ac:graphicFrameMkLst>
        </pc:graphicFrameChg>
        <pc:graphicFrameChg chg="del">
          <ac:chgData name="KATI SUOMINEN" userId="173c33f31711fa31" providerId="LiveId" clId="{194AC65F-6DFA-411A-BFD2-548172DA252F}" dt="2023-10-25T10:36:04.210" v="1520" actId="478"/>
          <ac:graphicFrameMkLst>
            <pc:docMk/>
            <pc:sldMk cId="3888130552" sldId="26566"/>
            <ac:graphicFrameMk id="12" creationId="{9445D71F-D881-8A4A-9BEC-30C10FECD625}"/>
          </ac:graphicFrameMkLst>
        </pc:graphicFrameChg>
        <pc:graphicFrameChg chg="add mod">
          <ac:chgData name="KATI SUOMINEN" userId="173c33f31711fa31" providerId="LiveId" clId="{194AC65F-6DFA-411A-BFD2-548172DA252F}" dt="2023-10-25T10:54:38.084" v="1813" actId="14100"/>
          <ac:graphicFrameMkLst>
            <pc:docMk/>
            <pc:sldMk cId="3888130552" sldId="26566"/>
            <ac:graphicFrameMk id="14" creationId="{18E84AB9-2785-4CBB-ABDC-B3AB8A775AFB}"/>
          </ac:graphicFrameMkLst>
        </pc:graphicFrameChg>
        <pc:graphicFrameChg chg="add del mod">
          <ac:chgData name="KATI SUOMINEN" userId="173c33f31711fa31" providerId="LiveId" clId="{194AC65F-6DFA-411A-BFD2-548172DA252F}" dt="2023-10-25T10:53:17.249" v="1789" actId="478"/>
          <ac:graphicFrameMkLst>
            <pc:docMk/>
            <pc:sldMk cId="3888130552" sldId="26566"/>
            <ac:graphicFrameMk id="15" creationId="{9445D71F-D881-8A4A-9BEC-30C10FECD625}"/>
          </ac:graphicFrameMkLst>
        </pc:graphicFrameChg>
        <pc:graphicFrameChg chg="add mod">
          <ac:chgData name="KATI SUOMINEN" userId="173c33f31711fa31" providerId="LiveId" clId="{194AC65F-6DFA-411A-BFD2-548172DA252F}" dt="2023-10-25T10:54:36.021" v="1812" actId="1076"/>
          <ac:graphicFrameMkLst>
            <pc:docMk/>
            <pc:sldMk cId="3888130552" sldId="26566"/>
            <ac:graphicFrameMk id="16" creationId="{9445D71F-D881-8A4A-9BEC-30C10FECD625}"/>
          </ac:graphicFrameMkLst>
        </pc:graphicFrameChg>
        <pc:picChg chg="add del mod modCrop">
          <ac:chgData name="KATI SUOMINEN" userId="173c33f31711fa31" providerId="LiveId" clId="{194AC65F-6DFA-411A-BFD2-548172DA252F}" dt="2023-10-25T10:52:56.937" v="1784" actId="478"/>
          <ac:picMkLst>
            <pc:docMk/>
            <pc:sldMk cId="3888130552" sldId="26566"/>
            <ac:picMk id="13" creationId="{3F8AA45D-B587-C5B4-826B-15CA63B33A81}"/>
          </ac:picMkLst>
        </pc:picChg>
      </pc:sldChg>
      <pc:sldChg chg="addSp modSp new mod">
        <pc:chgData name="KATI SUOMINEN" userId="173c33f31711fa31" providerId="LiveId" clId="{194AC65F-6DFA-411A-BFD2-548172DA252F}" dt="2023-10-25T10:39:51.838" v="1577" actId="1076"/>
        <pc:sldMkLst>
          <pc:docMk/>
          <pc:sldMk cId="2912021483" sldId="26567"/>
        </pc:sldMkLst>
        <pc:picChg chg="add mod">
          <ac:chgData name="KATI SUOMINEN" userId="173c33f31711fa31" providerId="LiveId" clId="{194AC65F-6DFA-411A-BFD2-548172DA252F}" dt="2023-10-25T10:39:51.838" v="1577" actId="1076"/>
          <ac:picMkLst>
            <pc:docMk/>
            <pc:sldMk cId="2912021483" sldId="26567"/>
            <ac:picMk id="2" creationId="{C70546E3-82AA-489E-55D2-57C38011E2FC}"/>
          </ac:picMkLst>
        </pc:picChg>
      </pc:sldChg>
      <pc:sldMasterChg chg="delSp mod">
        <pc:chgData name="KATI SUOMINEN" userId="173c33f31711fa31" providerId="LiveId" clId="{194AC65F-6DFA-411A-BFD2-548172DA252F}" dt="2023-10-25T06:05:25.364" v="1011" actId="478"/>
        <pc:sldMasterMkLst>
          <pc:docMk/>
          <pc:sldMasterMk cId="2673873092" sldId="2147483721"/>
        </pc:sldMasterMkLst>
        <pc:picChg chg="del">
          <ac:chgData name="KATI SUOMINEN" userId="173c33f31711fa31" providerId="LiveId" clId="{194AC65F-6DFA-411A-BFD2-548172DA252F}" dt="2023-10-25T06:05:25.364" v="1011" actId="478"/>
          <ac:picMkLst>
            <pc:docMk/>
            <pc:sldMasterMk cId="2673873092" sldId="2147483721"/>
            <ac:picMk id="107" creationId="{00000000-0000-0000-0000-000000000000}"/>
          </ac:picMkLst>
        </pc:picChg>
        <pc:picChg chg="del">
          <ac:chgData name="KATI SUOMINEN" userId="173c33f31711fa31" providerId="LiveId" clId="{194AC65F-6DFA-411A-BFD2-548172DA252F}" dt="2023-10-25T06:05:24.663" v="1010" actId="478"/>
          <ac:picMkLst>
            <pc:docMk/>
            <pc:sldMasterMk cId="2673873092" sldId="2147483721"/>
            <ac:picMk id="108" creationId="{00000000-0000-0000-0000-000000000000}"/>
          </ac:picMkLst>
        </pc:pic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1.bin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FOR%20SLIDE_2%20102523%20Smart%20ports%20and%20FTZs%20102323%20(1)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FOR%20SLIDE_2%20102523%20Smart%20ports%20and%20FTZs%20102323%20(1)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173c33f31711fa31/USA%20GREEN%20TECH%20EXPORTS%20HS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2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3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4.bin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suom\Downloads\EV%20101923%20Pollfish_Survey_AI_and_sustainability_survey_384016589%20(1)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2982535836866544E-2"/>
          <c:y val="5.754713537244046E-2"/>
          <c:w val="0.89465963389191738"/>
          <c:h val="0.585541301719307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ig 2'!$B$2</c:f>
              <c:strCache>
                <c:ptCount val="1"/>
                <c:pt idx="0">
                  <c:v>Offline seller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2'!$A$3:$A$6</c:f>
              <c:strCache>
                <c:ptCount val="4"/>
                <c:pt idx="0">
                  <c:v>Micro (0-10 employees)</c:v>
                </c:pt>
                <c:pt idx="1">
                  <c:v>Small (11-50 employees)</c:v>
                </c:pt>
                <c:pt idx="2">
                  <c:v>Midsize (51-250 employees)</c:v>
                </c:pt>
                <c:pt idx="3">
                  <c:v>Large (&gt;250 employees)</c:v>
                </c:pt>
              </c:strCache>
            </c:strRef>
          </c:cat>
          <c:val>
            <c:numRef>
              <c:f>'fig 2'!$B$3:$B$6</c:f>
              <c:numCache>
                <c:formatCode>0%</c:formatCode>
                <c:ptCount val="4"/>
                <c:pt idx="0">
                  <c:v>0.22900000000000001</c:v>
                </c:pt>
                <c:pt idx="1">
                  <c:v>0.08</c:v>
                </c:pt>
                <c:pt idx="2">
                  <c:v>0.14369999999999999</c:v>
                </c:pt>
                <c:pt idx="3">
                  <c:v>0.2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DE-4FA2-BF1E-A01D6496B7EF}"/>
            </c:ext>
          </c:extLst>
        </c:ser>
        <c:ser>
          <c:idx val="1"/>
          <c:order val="1"/>
          <c:tx>
            <c:strRef>
              <c:f>'fig 2'!$C$2</c:f>
              <c:strCache>
                <c:ptCount val="1"/>
                <c:pt idx="0">
                  <c:v>Buy online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2'!$A$3:$A$6</c:f>
              <c:strCache>
                <c:ptCount val="4"/>
                <c:pt idx="0">
                  <c:v>Micro (0-10 employees)</c:v>
                </c:pt>
                <c:pt idx="1">
                  <c:v>Small (11-50 employees)</c:v>
                </c:pt>
                <c:pt idx="2">
                  <c:v>Midsize (51-250 employees)</c:v>
                </c:pt>
                <c:pt idx="3">
                  <c:v>Large (&gt;250 employees)</c:v>
                </c:pt>
              </c:strCache>
            </c:strRef>
          </c:cat>
          <c:val>
            <c:numRef>
              <c:f>'fig 2'!$C$3:$C$6</c:f>
              <c:numCache>
                <c:formatCode>0%</c:formatCode>
                <c:ptCount val="4"/>
                <c:pt idx="0">
                  <c:v>0.52</c:v>
                </c:pt>
                <c:pt idx="1">
                  <c:v>0.65</c:v>
                </c:pt>
                <c:pt idx="2">
                  <c:v>0.68</c:v>
                </c:pt>
                <c:pt idx="3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DE-4FA2-BF1E-A01D6496B7EF}"/>
            </c:ext>
          </c:extLst>
        </c:ser>
        <c:ser>
          <c:idx val="2"/>
          <c:order val="2"/>
          <c:tx>
            <c:strRef>
              <c:f>'fig 2'!$D$2</c:f>
              <c:strCache>
                <c:ptCount val="1"/>
                <c:pt idx="0">
                  <c:v>Market on social media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2'!$A$3:$A$6</c:f>
              <c:strCache>
                <c:ptCount val="4"/>
                <c:pt idx="0">
                  <c:v>Micro (0-10 employees)</c:v>
                </c:pt>
                <c:pt idx="1">
                  <c:v>Small (11-50 employees)</c:v>
                </c:pt>
                <c:pt idx="2">
                  <c:v>Midsize (51-250 employees)</c:v>
                </c:pt>
                <c:pt idx="3">
                  <c:v>Large (&gt;250 employees)</c:v>
                </c:pt>
              </c:strCache>
            </c:strRef>
          </c:cat>
          <c:val>
            <c:numRef>
              <c:f>'fig 2'!$D$3:$D$6</c:f>
              <c:numCache>
                <c:formatCode>0%</c:formatCode>
                <c:ptCount val="4"/>
                <c:pt idx="0">
                  <c:v>0.74</c:v>
                </c:pt>
                <c:pt idx="1">
                  <c:v>0.82</c:v>
                </c:pt>
                <c:pt idx="2">
                  <c:v>0.84</c:v>
                </c:pt>
                <c:pt idx="3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7DE-4FA2-BF1E-A01D6496B7EF}"/>
            </c:ext>
          </c:extLst>
        </c:ser>
        <c:ser>
          <c:idx val="3"/>
          <c:order val="3"/>
          <c:tx>
            <c:strRef>
              <c:f>'fig 2'!$E$2</c:f>
              <c:strCache>
                <c:ptCount val="1"/>
                <c:pt idx="0">
                  <c:v>Sell via own online stor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2'!$A$3:$A$6</c:f>
              <c:strCache>
                <c:ptCount val="4"/>
                <c:pt idx="0">
                  <c:v>Micro (0-10 employees)</c:v>
                </c:pt>
                <c:pt idx="1">
                  <c:v>Small (11-50 employees)</c:v>
                </c:pt>
                <c:pt idx="2">
                  <c:v>Midsize (51-250 employees)</c:v>
                </c:pt>
                <c:pt idx="3">
                  <c:v>Large (&gt;250 employees)</c:v>
                </c:pt>
              </c:strCache>
            </c:strRef>
          </c:cat>
          <c:val>
            <c:numRef>
              <c:f>'fig 2'!$E$3:$E$6</c:f>
              <c:numCache>
                <c:formatCode>0%</c:formatCode>
                <c:ptCount val="4"/>
                <c:pt idx="0">
                  <c:v>0.19</c:v>
                </c:pt>
                <c:pt idx="1">
                  <c:v>0.15</c:v>
                </c:pt>
                <c:pt idx="2">
                  <c:v>0.34</c:v>
                </c:pt>
                <c:pt idx="3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DE-4FA2-BF1E-A01D6496B7EF}"/>
            </c:ext>
          </c:extLst>
        </c:ser>
        <c:ser>
          <c:idx val="4"/>
          <c:order val="4"/>
          <c:tx>
            <c:strRef>
              <c:f>'fig 2'!$F$2</c:f>
              <c:strCache>
                <c:ptCount val="1"/>
                <c:pt idx="0">
                  <c:v>Sell on local or regional marketplaces</c:v>
                </c:pt>
              </c:strCache>
            </c:strRef>
          </c:tx>
          <c:spPr>
            <a:solidFill>
              <a:srgbClr val="FCB02F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2'!$A$3:$A$6</c:f>
              <c:strCache>
                <c:ptCount val="4"/>
                <c:pt idx="0">
                  <c:v>Micro (0-10 employees)</c:v>
                </c:pt>
                <c:pt idx="1">
                  <c:v>Small (11-50 employees)</c:v>
                </c:pt>
                <c:pt idx="2">
                  <c:v>Midsize (51-250 employees)</c:v>
                </c:pt>
                <c:pt idx="3">
                  <c:v>Large (&gt;250 employees)</c:v>
                </c:pt>
              </c:strCache>
            </c:strRef>
          </c:cat>
          <c:val>
            <c:numRef>
              <c:f>'fig 2'!$F$3:$F$6</c:f>
              <c:numCache>
                <c:formatCode>0%</c:formatCode>
                <c:ptCount val="4"/>
                <c:pt idx="0">
                  <c:v>0.22</c:v>
                </c:pt>
                <c:pt idx="1">
                  <c:v>0.32</c:v>
                </c:pt>
                <c:pt idx="2">
                  <c:v>0.4</c:v>
                </c:pt>
                <c:pt idx="3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DE-4FA2-BF1E-A01D6496B7EF}"/>
            </c:ext>
          </c:extLst>
        </c:ser>
        <c:ser>
          <c:idx val="5"/>
          <c:order val="5"/>
          <c:tx>
            <c:strRef>
              <c:f>'fig 2'!$G$2</c:f>
              <c:strCache>
                <c:ptCount val="1"/>
                <c:pt idx="0">
                  <c:v>Sell on global marketplaces</c:v>
                </c:pt>
              </c:strCache>
            </c:strRef>
          </c:tx>
          <c:spPr>
            <a:solidFill>
              <a:srgbClr val="FCB02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2'!$A$3:$A$6</c:f>
              <c:strCache>
                <c:ptCount val="4"/>
                <c:pt idx="0">
                  <c:v>Micro (0-10 employees)</c:v>
                </c:pt>
                <c:pt idx="1">
                  <c:v>Small (11-50 employees)</c:v>
                </c:pt>
                <c:pt idx="2">
                  <c:v>Midsize (51-250 employees)</c:v>
                </c:pt>
                <c:pt idx="3">
                  <c:v>Large (&gt;250 employees)</c:v>
                </c:pt>
              </c:strCache>
            </c:strRef>
          </c:cat>
          <c:val>
            <c:numRef>
              <c:f>'fig 2'!$G$3:$G$6</c:f>
              <c:numCache>
                <c:formatCode>0%</c:formatCode>
                <c:ptCount val="4"/>
                <c:pt idx="0">
                  <c:v>0.06</c:v>
                </c:pt>
                <c:pt idx="1">
                  <c:v>0.08</c:v>
                </c:pt>
                <c:pt idx="2">
                  <c:v>0.22</c:v>
                </c:pt>
                <c:pt idx="3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7DE-4FA2-BF1E-A01D6496B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0"/>
        <c:axId val="662778895"/>
        <c:axId val="662780175"/>
      </c:barChart>
      <c:catAx>
        <c:axId val="662778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62780175"/>
        <c:crosses val="autoZero"/>
        <c:auto val="1"/>
        <c:lblAlgn val="ctr"/>
        <c:lblOffset val="100"/>
        <c:noMultiLvlLbl val="0"/>
      </c:catAx>
      <c:valAx>
        <c:axId val="66278017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627788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545578437310722"/>
          <c:y val="0.7744006399522575"/>
          <c:w val="0.71549868766404201"/>
          <c:h val="0.225599391898311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 b="0">
          <a:solidFill>
            <a:sysClr val="windowText" lastClr="000000"/>
          </a:solidFill>
          <a:latin typeface="+mn-lt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Figures_By Growth'!$C$50</c:f>
              <c:strCache>
                <c:ptCount val="1"/>
                <c:pt idx="0">
                  <c:v>&gt;5% growth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ures_By Growth'!$B$51:$B$55</c:f>
              <c:strCache>
                <c:ptCount val="5"/>
                <c:pt idx="0">
                  <c:v>To export or import products, need to meet sustainability mandates</c:v>
                </c:pt>
                <c:pt idx="1">
                  <c:v>Pressure to use green certifications</c:v>
                </c:pt>
                <c:pt idx="2">
                  <c:v>Government demands sustainability reporting and improvements</c:v>
                </c:pt>
                <c:pt idx="3">
                  <c:v>Our customers demand sustainability reporting</c:v>
                </c:pt>
                <c:pt idx="4">
                  <c:v>Our customers demand greener products and services</c:v>
                </c:pt>
              </c:strCache>
            </c:strRef>
          </c:cat>
          <c:val>
            <c:numRef>
              <c:f>'Figures_By Growth'!$C$51:$C$55</c:f>
              <c:numCache>
                <c:formatCode>0%</c:formatCode>
                <c:ptCount val="5"/>
                <c:pt idx="0">
                  <c:v>0.35135135135135137</c:v>
                </c:pt>
                <c:pt idx="1">
                  <c:v>0.45945945945945948</c:v>
                </c:pt>
                <c:pt idx="2">
                  <c:v>0.35135135135135137</c:v>
                </c:pt>
                <c:pt idx="3">
                  <c:v>0.34234234234234234</c:v>
                </c:pt>
                <c:pt idx="4">
                  <c:v>0.48648648648648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54-4B74-A478-EE760CACD459}"/>
            </c:ext>
          </c:extLst>
        </c:ser>
        <c:ser>
          <c:idx val="1"/>
          <c:order val="1"/>
          <c:tx>
            <c:strRef>
              <c:f>'Figures_By Growth'!$D$50</c:f>
              <c:strCache>
                <c:ptCount val="1"/>
                <c:pt idx="0">
                  <c:v>&lt;5% growth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ures_By Growth'!$B$51:$B$55</c:f>
              <c:strCache>
                <c:ptCount val="5"/>
                <c:pt idx="0">
                  <c:v>To export or import products, need to meet sustainability mandates</c:v>
                </c:pt>
                <c:pt idx="1">
                  <c:v>Pressure to use green certifications</c:v>
                </c:pt>
                <c:pt idx="2">
                  <c:v>Government demands sustainability reporting and improvements</c:v>
                </c:pt>
                <c:pt idx="3">
                  <c:v>Our customers demand sustainability reporting</c:v>
                </c:pt>
                <c:pt idx="4">
                  <c:v>Our customers demand greener products and services</c:v>
                </c:pt>
              </c:strCache>
            </c:strRef>
          </c:cat>
          <c:val>
            <c:numRef>
              <c:f>'Figures_By Growth'!$D$51:$D$55</c:f>
              <c:numCache>
                <c:formatCode>0%</c:formatCode>
                <c:ptCount val="5"/>
                <c:pt idx="0">
                  <c:v>0.23157894736842105</c:v>
                </c:pt>
                <c:pt idx="1">
                  <c:v>0.26315789473684209</c:v>
                </c:pt>
                <c:pt idx="2">
                  <c:v>0.33684210526315789</c:v>
                </c:pt>
                <c:pt idx="3">
                  <c:v>0.37894736842105264</c:v>
                </c:pt>
                <c:pt idx="4">
                  <c:v>0.389473684210526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54-4B74-A478-EE760CACD4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729022736"/>
        <c:axId val="1728422768"/>
      </c:barChart>
      <c:catAx>
        <c:axId val="1729022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728422768"/>
        <c:crosses val="autoZero"/>
        <c:auto val="1"/>
        <c:lblAlgn val="ctr"/>
        <c:lblOffset val="100"/>
        <c:noMultiLvlLbl val="0"/>
      </c:catAx>
      <c:valAx>
        <c:axId val="172842276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729022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Figures_By Growth'!$B$176</c:f>
              <c:strCache>
                <c:ptCount val="1"/>
                <c:pt idx="0">
                  <c:v>&gt;5% growth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Figures_By Growth'!$A$177,'Figures_By Growth'!$A$179,'Figures_By Growth'!$A$181:$A$182,'Figures_By Growth'!$A$184,'Figures_By Growth'!$A$186:$A$187)</c:f>
              <c:strCache>
                <c:ptCount val="7"/>
                <c:pt idx="0">
                  <c:v>Locked us out of certain international markets</c:v>
                </c:pt>
                <c:pt idx="1">
                  <c:v>Made us lose customers</c:v>
                </c:pt>
                <c:pt idx="2">
                  <c:v>Hard to understand</c:v>
                </c:pt>
                <c:pt idx="3">
                  <c:v>Hard to get financing</c:v>
                </c:pt>
                <c:pt idx="4">
                  <c:v>We have had to pay fines</c:v>
                </c:pt>
                <c:pt idx="5">
                  <c:v>It has been hard to measure how green we are</c:v>
                </c:pt>
                <c:pt idx="6">
                  <c:v>New costs </c:v>
                </c:pt>
              </c:strCache>
              <c:extLst/>
            </c:strRef>
          </c:cat>
          <c:val>
            <c:numRef>
              <c:f>('Figures_By Growth'!$B$177,'Figures_By Growth'!$B$179,'Figures_By Growth'!$B$181:$B$182,'Figures_By Growth'!$B$184,'Figures_By Growth'!$B$186:$B$187)</c:f>
              <c:numCache>
                <c:formatCode>0%</c:formatCode>
                <c:ptCount val="7"/>
                <c:pt idx="0">
                  <c:v>8.1081081081081086E-2</c:v>
                </c:pt>
                <c:pt idx="1">
                  <c:v>9.0090090090090086E-2</c:v>
                </c:pt>
                <c:pt idx="2">
                  <c:v>7.2072072072072071E-2</c:v>
                </c:pt>
                <c:pt idx="3">
                  <c:v>0.16216216216216217</c:v>
                </c:pt>
                <c:pt idx="4">
                  <c:v>0.1891891891891892</c:v>
                </c:pt>
                <c:pt idx="5">
                  <c:v>0.12612612612612611</c:v>
                </c:pt>
                <c:pt idx="6">
                  <c:v>0.4864864864864865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741-41C2-8BBE-B9C8C05676C9}"/>
            </c:ext>
          </c:extLst>
        </c:ser>
        <c:ser>
          <c:idx val="1"/>
          <c:order val="1"/>
          <c:tx>
            <c:strRef>
              <c:f>'Figures_By Growth'!$C$176</c:f>
              <c:strCache>
                <c:ptCount val="1"/>
                <c:pt idx="0">
                  <c:v>&lt;5% growth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Figures_By Growth'!$A$177,'Figures_By Growth'!$A$179,'Figures_By Growth'!$A$181:$A$182,'Figures_By Growth'!$A$184,'Figures_By Growth'!$A$186:$A$187)</c:f>
              <c:strCache>
                <c:ptCount val="7"/>
                <c:pt idx="0">
                  <c:v>Locked us out of certain international markets</c:v>
                </c:pt>
                <c:pt idx="1">
                  <c:v>Made us lose customers</c:v>
                </c:pt>
                <c:pt idx="2">
                  <c:v>Hard to understand</c:v>
                </c:pt>
                <c:pt idx="3">
                  <c:v>Hard to get financing</c:v>
                </c:pt>
                <c:pt idx="4">
                  <c:v>We have had to pay fines</c:v>
                </c:pt>
                <c:pt idx="5">
                  <c:v>It has been hard to measure how green we are</c:v>
                </c:pt>
                <c:pt idx="6">
                  <c:v>New costs </c:v>
                </c:pt>
              </c:strCache>
              <c:extLst/>
            </c:strRef>
          </c:cat>
          <c:val>
            <c:numRef>
              <c:f>('Figures_By Growth'!$C$177,'Figures_By Growth'!$C$179,'Figures_By Growth'!$C$181:$C$182,'Figures_By Growth'!$C$184,'Figures_By Growth'!$C$186:$C$187)</c:f>
              <c:numCache>
                <c:formatCode>0%</c:formatCode>
                <c:ptCount val="7"/>
                <c:pt idx="0">
                  <c:v>6.3157894736842107E-2</c:v>
                </c:pt>
                <c:pt idx="1">
                  <c:v>0.11578947368421053</c:v>
                </c:pt>
                <c:pt idx="2">
                  <c:v>0.14736842105263157</c:v>
                </c:pt>
                <c:pt idx="3">
                  <c:v>0.14736842105263157</c:v>
                </c:pt>
                <c:pt idx="4">
                  <c:v>0.24210526315789474</c:v>
                </c:pt>
                <c:pt idx="5">
                  <c:v>0.29473684210526313</c:v>
                </c:pt>
                <c:pt idx="6">
                  <c:v>0.4421052631578947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741-41C2-8BBE-B9C8C05676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694344960"/>
        <c:axId val="1888901824"/>
      </c:barChart>
      <c:catAx>
        <c:axId val="1694344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888901824"/>
        <c:crosses val="autoZero"/>
        <c:auto val="1"/>
        <c:lblAlgn val="ctr"/>
        <c:lblOffset val="100"/>
        <c:noMultiLvlLbl val="0"/>
      </c:catAx>
      <c:valAx>
        <c:axId val="188890182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694344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Figures_By Growth'!$B$176</c:f>
              <c:strCache>
                <c:ptCount val="1"/>
                <c:pt idx="0">
                  <c:v>&gt;5% growth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Figures_By Growth'!$A$178,'Figures_By Growth'!$A$180,'Figures_By Growth'!$A$183,'Figures_By Growth'!$A$185)</c:f>
              <c:strCache>
                <c:ptCount val="4"/>
                <c:pt idx="0">
                  <c:v>We have not faced these mandates or need to green yet</c:v>
                </c:pt>
                <c:pt idx="1">
                  <c:v>Adopting them has helped us recruit talent</c:v>
                </c:pt>
                <c:pt idx="2">
                  <c:v>Helped us develop new sustainable products or services</c:v>
                </c:pt>
                <c:pt idx="3">
                  <c:v>Helped us create a new value proposition to attract for customers</c:v>
                </c:pt>
              </c:strCache>
              <c:extLst/>
            </c:strRef>
          </c:cat>
          <c:val>
            <c:numRef>
              <c:f>('Figures_By Growth'!$B$178,'Figures_By Growth'!$B$180,'Figures_By Growth'!$B$183,'Figures_By Growth'!$B$185)</c:f>
              <c:numCache>
                <c:formatCode>0%</c:formatCode>
                <c:ptCount val="4"/>
                <c:pt idx="0">
                  <c:v>7.2072072072072071E-2</c:v>
                </c:pt>
                <c:pt idx="1">
                  <c:v>0.30630630630630629</c:v>
                </c:pt>
                <c:pt idx="2">
                  <c:v>0.38738738738738737</c:v>
                </c:pt>
                <c:pt idx="3">
                  <c:v>0.396396396396396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196-47C9-B638-FD9964C41219}"/>
            </c:ext>
          </c:extLst>
        </c:ser>
        <c:ser>
          <c:idx val="1"/>
          <c:order val="1"/>
          <c:tx>
            <c:strRef>
              <c:f>'Figures_By Growth'!$C$176</c:f>
              <c:strCache>
                <c:ptCount val="1"/>
                <c:pt idx="0">
                  <c:v>&lt;5% growth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Figures_By Growth'!$A$178,'Figures_By Growth'!$A$180,'Figures_By Growth'!$A$183,'Figures_By Growth'!$A$185)</c:f>
              <c:strCache>
                <c:ptCount val="4"/>
                <c:pt idx="0">
                  <c:v>We have not faced these mandates or need to green yet</c:v>
                </c:pt>
                <c:pt idx="1">
                  <c:v>Adopting them has helped us recruit talent</c:v>
                </c:pt>
                <c:pt idx="2">
                  <c:v>Helped us develop new sustainable products or services</c:v>
                </c:pt>
                <c:pt idx="3">
                  <c:v>Helped us create a new value proposition to attract for customers</c:v>
                </c:pt>
              </c:strCache>
              <c:extLst/>
            </c:strRef>
          </c:cat>
          <c:val>
            <c:numRef>
              <c:f>('Figures_By Growth'!$C$178,'Figures_By Growth'!$C$180,'Figures_By Growth'!$C$183,'Figures_By Growth'!$C$185)</c:f>
              <c:numCache>
                <c:formatCode>0%</c:formatCode>
                <c:ptCount val="4"/>
                <c:pt idx="0">
                  <c:v>8.4210526315789472E-2</c:v>
                </c:pt>
                <c:pt idx="1">
                  <c:v>0.1368421052631579</c:v>
                </c:pt>
                <c:pt idx="2">
                  <c:v>0.18947368421052632</c:v>
                </c:pt>
                <c:pt idx="3">
                  <c:v>0.2526315789473684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D196-47C9-B638-FD9964C412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694344960"/>
        <c:axId val="1888901824"/>
      </c:barChart>
      <c:catAx>
        <c:axId val="1694344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888901824"/>
        <c:crosses val="autoZero"/>
        <c:auto val="1"/>
        <c:lblAlgn val="ctr"/>
        <c:lblOffset val="100"/>
        <c:noMultiLvlLbl val="0"/>
      </c:catAx>
      <c:valAx>
        <c:axId val="1888901824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694344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need!$A$9</c:f>
              <c:strCache>
                <c:ptCount val="1"/>
                <c:pt idx="0">
                  <c:v>Green port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need!$B$8:$C$8</c:f>
              <c:strCache>
                <c:ptCount val="2"/>
                <c:pt idx="0">
                  <c:v>Ports that are not SMART</c:v>
                </c:pt>
                <c:pt idx="1">
                  <c:v>Ports that are SMART</c:v>
                </c:pt>
              </c:strCache>
            </c:strRef>
          </c:cat>
          <c:val>
            <c:numRef>
              <c:f>need!$B$9:$C$9</c:f>
              <c:numCache>
                <c:formatCode>General</c:formatCode>
                <c:ptCount val="2"/>
                <c:pt idx="0">
                  <c:v>21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51-4302-8A66-5DFACB1EF4E0}"/>
            </c:ext>
          </c:extLst>
        </c:ser>
        <c:ser>
          <c:idx val="1"/>
          <c:order val="1"/>
          <c:tx>
            <c:strRef>
              <c:f>need!$A$10</c:f>
              <c:strCache>
                <c:ptCount val="1"/>
                <c:pt idx="0">
                  <c:v>Non-green port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need!$B$8:$C$8</c:f>
              <c:strCache>
                <c:ptCount val="2"/>
                <c:pt idx="0">
                  <c:v>Ports that are not SMART</c:v>
                </c:pt>
                <c:pt idx="1">
                  <c:v>Ports that are SMART</c:v>
                </c:pt>
              </c:strCache>
            </c:strRef>
          </c:cat>
          <c:val>
            <c:numRef>
              <c:f>need!$B$10:$C$10</c:f>
              <c:numCache>
                <c:formatCode>General</c:formatCode>
                <c:ptCount val="2"/>
                <c:pt idx="0">
                  <c:v>28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51-4302-8A66-5DFACB1EF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530667759"/>
        <c:axId val="2138259567"/>
      </c:barChart>
      <c:catAx>
        <c:axId val="53066775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8259567"/>
        <c:crosses val="autoZero"/>
        <c:auto val="1"/>
        <c:lblAlgn val="ctr"/>
        <c:lblOffset val="100"/>
        <c:noMultiLvlLbl val="0"/>
      </c:catAx>
      <c:valAx>
        <c:axId val="2138259567"/>
        <c:scaling>
          <c:orientation val="minMax"/>
          <c:min val="0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67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need!$A$4</c:f>
              <c:strCache>
                <c:ptCount val="1"/>
                <c:pt idx="0">
                  <c:v>% of green ports of all port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need!$B$3:$F$3</c:f>
              <c:strCache>
                <c:ptCount val="5"/>
                <c:pt idx="0">
                  <c:v>Asia Pacific</c:v>
                </c:pt>
                <c:pt idx="1">
                  <c:v>Latin America and Caribbean</c:v>
                </c:pt>
                <c:pt idx="2">
                  <c:v>Europe</c:v>
                </c:pt>
                <c:pt idx="3">
                  <c:v>North America</c:v>
                </c:pt>
                <c:pt idx="4">
                  <c:v>Middle East and North Africa</c:v>
                </c:pt>
              </c:strCache>
              <c:extLst/>
            </c:strRef>
          </c:cat>
          <c:val>
            <c:numRef>
              <c:f>need!$B$4:$F$4</c:f>
              <c:numCache>
                <c:formatCode>0%</c:formatCode>
                <c:ptCount val="5"/>
                <c:pt idx="0">
                  <c:v>0.49152542372881358</c:v>
                </c:pt>
                <c:pt idx="1">
                  <c:v>0.5714285714285714</c:v>
                </c:pt>
                <c:pt idx="2">
                  <c:v>0.77777777777777779</c:v>
                </c:pt>
                <c:pt idx="3">
                  <c:v>0.9</c:v>
                </c:pt>
                <c:pt idx="4">
                  <c:v>0.8888888888888888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746C-4804-916A-01E9885221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30667759"/>
        <c:axId val="2138259567"/>
      </c:barChart>
      <c:catAx>
        <c:axId val="530667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8259567"/>
        <c:crosses val="autoZero"/>
        <c:auto val="1"/>
        <c:lblAlgn val="ctr"/>
        <c:lblOffset val="100"/>
        <c:noMultiLvlLbl val="0"/>
      </c:catAx>
      <c:valAx>
        <c:axId val="213825956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06677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 b="1"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351304380308561E-2"/>
          <c:y val="1.1070358411495245E-2"/>
          <c:w val="0.94406259117764146"/>
          <c:h val="0.96142941782345404"/>
        </c:manualLayout>
      </c:layout>
      <c:bubbleChart>
        <c:varyColors val="0"/>
        <c:ser>
          <c:idx val="0"/>
          <c:order val="0"/>
          <c:tx>
            <c:strRef>
              <c:f>'[USA GREEN TECH EXPORTS HS.xlsx]combined2'!$L$28:$L$58</c:f>
              <c:strCache>
                <c:ptCount val="31"/>
                <c:pt idx="0">
                  <c:v>-3%</c:v>
                </c:pt>
                <c:pt idx="1">
                  <c:v>-14%</c:v>
                </c:pt>
                <c:pt idx="2">
                  <c:v>6%</c:v>
                </c:pt>
                <c:pt idx="3">
                  <c:v>-3%</c:v>
                </c:pt>
                <c:pt idx="4">
                  <c:v>-2%</c:v>
                </c:pt>
                <c:pt idx="5">
                  <c:v>-4%</c:v>
                </c:pt>
                <c:pt idx="6">
                  <c:v>-9%</c:v>
                </c:pt>
                <c:pt idx="7">
                  <c:v>-7%</c:v>
                </c:pt>
                <c:pt idx="8">
                  <c:v>3%</c:v>
                </c:pt>
                <c:pt idx="9">
                  <c:v>-1%</c:v>
                </c:pt>
                <c:pt idx="10">
                  <c:v>-8%</c:v>
                </c:pt>
                <c:pt idx="11">
                  <c:v>-4%</c:v>
                </c:pt>
                <c:pt idx="12">
                  <c:v>4%</c:v>
                </c:pt>
                <c:pt idx="13">
                  <c:v>-2%</c:v>
                </c:pt>
                <c:pt idx="14">
                  <c:v>-2%</c:v>
                </c:pt>
                <c:pt idx="15">
                  <c:v>1%</c:v>
                </c:pt>
                <c:pt idx="16">
                  <c:v>3%</c:v>
                </c:pt>
                <c:pt idx="17">
                  <c:v>-6%</c:v>
                </c:pt>
                <c:pt idx="18">
                  <c:v>0%</c:v>
                </c:pt>
                <c:pt idx="19">
                  <c:v>0%</c:v>
                </c:pt>
                <c:pt idx="20">
                  <c:v>-2%</c:v>
                </c:pt>
                <c:pt idx="21">
                  <c:v>0%</c:v>
                </c:pt>
                <c:pt idx="22">
                  <c:v>7%</c:v>
                </c:pt>
                <c:pt idx="23">
                  <c:v>8%</c:v>
                </c:pt>
                <c:pt idx="24">
                  <c:v>9%</c:v>
                </c:pt>
                <c:pt idx="25">
                  <c:v>0%</c:v>
                </c:pt>
                <c:pt idx="26">
                  <c:v>-5%</c:v>
                </c:pt>
                <c:pt idx="27">
                  <c:v>-2%</c:v>
                </c:pt>
                <c:pt idx="28">
                  <c:v>-5%</c:v>
                </c:pt>
                <c:pt idx="29">
                  <c:v>-5%</c:v>
                </c:pt>
                <c:pt idx="30">
                  <c:v>8%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8667433300721849E-2"/>
                  <c:y val="-7.5451404242585396E-2"/>
                </c:manualLayout>
              </c:layout>
              <c:tx>
                <c:rich>
                  <a:bodyPr/>
                  <a:lstStyle/>
                  <a:p>
                    <a:fld id="{B2C39F4B-9ABE-4FFD-A0D9-5BD4A8C69F0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9FBD-4567-B278-8D7F7B9E6C8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FBD-4567-B278-8D7F7B9E6C8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F17E179-0763-4084-BEC7-168DBCFB178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9FBD-4567-B278-8D7F7B9E6C8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FBD-4567-B278-8D7F7B9E6C8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9ED5E294-0F60-4DA3-952E-FF171E55CE1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9FBD-4567-B278-8D7F7B9E6C86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FBD-4567-B278-8D7F7B9E6C86}"/>
                </c:ext>
              </c:extLst>
            </c:dLbl>
            <c:dLbl>
              <c:idx val="6"/>
              <c:layout>
                <c:manualLayout>
                  <c:x val="-1.0536275559470573E-16"/>
                  <c:y val="-2.462121212121212E-2"/>
                </c:manualLayout>
              </c:layout>
              <c:tx>
                <c:rich>
                  <a:bodyPr/>
                  <a:lstStyle/>
                  <a:p>
                    <a:fld id="{C1589A2D-8B19-42E6-A25A-E09A4B439E6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47412430150643"/>
                      <c:h val="4.7291666666666669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9FBD-4567-B278-8D7F7B9E6C86}"/>
                </c:ext>
              </c:extLst>
            </c:dLbl>
            <c:dLbl>
              <c:idx val="7"/>
              <c:layout>
                <c:manualLayout>
                  <c:x val="-3.4482754719572503E-2"/>
                  <c:y val="0.11174242424242424"/>
                </c:manualLayout>
              </c:layout>
              <c:tx>
                <c:rich>
                  <a:bodyPr/>
                  <a:lstStyle/>
                  <a:p>
                    <a:fld id="{B0BEEF69-DADB-4216-ACC8-C5E736C92C9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9FBD-4567-B278-8D7F7B9E6C86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FBD-4567-B278-8D7F7B9E6C86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FBD-4567-B278-8D7F7B9E6C86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842A7DF8-446C-4235-B9CD-F4643C5FBCF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9FBD-4567-B278-8D7F7B9E6C86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FBD-4567-B278-8D7F7B9E6C86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FBD-4567-B278-8D7F7B9E6C86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FBD-4567-B278-8D7F7B9E6C86}"/>
                </c:ext>
              </c:extLst>
            </c:dLbl>
            <c:dLbl>
              <c:idx val="14"/>
              <c:layout>
                <c:manualLayout>
                  <c:x val="-2.8735628932977614E-3"/>
                  <c:y val="-4.5454545454545456E-2"/>
                </c:manualLayout>
              </c:layout>
              <c:tx>
                <c:rich>
                  <a:bodyPr/>
                  <a:lstStyle/>
                  <a:p>
                    <a:fld id="{D4420C3B-B586-4CB7-94A2-0F5755D52C9C}" type="CELLRANGE">
                      <a:rPr lang="en-US" smtClean="0"/>
                      <a:pPr/>
                      <a:t>[CELLRANGE]</a:t>
                    </a:fld>
                    <a:r>
                      <a:rPr lang="en-US" dirty="0"/>
                      <a:t>s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9FBD-4567-B278-8D7F7B9E6C86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FBD-4567-B278-8D7F7B9E6C86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FBD-4567-B278-8D7F7B9E6C8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FBD-4567-B278-8D7F7B9E6C86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FBD-4567-B278-8D7F7B9E6C86}"/>
                </c:ext>
              </c:extLst>
            </c:dLbl>
            <c:dLbl>
              <c:idx val="19"/>
              <c:layout>
                <c:manualLayout>
                  <c:x val="2.8735628932977089E-3"/>
                  <c:y val="-6.4393939393939392E-2"/>
                </c:manualLayout>
              </c:layout>
              <c:tx>
                <c:rich>
                  <a:bodyPr/>
                  <a:lstStyle/>
                  <a:p>
                    <a:fld id="{06B904FD-ABA0-43E5-B499-A93CFFD5B07F}" type="CELLRANGE">
                      <a:rPr lang="en-US" smtClean="0"/>
                      <a:pPr/>
                      <a:t>[CELLRANGE]</a:t>
                    </a:fld>
                    <a:r>
                      <a:rPr lang="en-US" dirty="0"/>
                      <a:t>ng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9FBD-4567-B278-8D7F7B9E6C86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FBD-4567-B278-8D7F7B9E6C86}"/>
                </c:ext>
              </c:extLst>
            </c:dLbl>
            <c:dLbl>
              <c:idx val="21"/>
              <c:layout>
                <c:manualLayout>
                  <c:x val="0.30316088524290818"/>
                  <c:y val="-0.1875"/>
                </c:manualLayout>
              </c:layout>
              <c:tx>
                <c:rich>
                  <a:bodyPr/>
                  <a:lstStyle/>
                  <a:p>
                    <a:fld id="{15BFB55B-E0C2-47AA-A48D-65A727AB0862}" type="CELLRANGE">
                      <a:rPr lang="en-US" smtClean="0"/>
                      <a:pPr/>
                      <a:t>[CELLRANGE]</a:t>
                    </a:fld>
                    <a:r>
                      <a:rPr lang="en-US" dirty="0" err="1"/>
                      <a:t>urifying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9FBD-4567-B278-8D7F7B9E6C86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FBD-4567-B278-8D7F7B9E6C86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9FBD-4567-B278-8D7F7B9E6C86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9FBD-4567-B278-8D7F7B9E6C86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9FBD-4567-B278-8D7F7B9E6C86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9FBD-4567-B278-8D7F7B9E6C86}"/>
                </c:ext>
              </c:extLst>
            </c:dLbl>
            <c:dLbl>
              <c:idx val="27"/>
              <c:tx>
                <c:rich>
                  <a:bodyPr/>
                  <a:lstStyle/>
                  <a:p>
                    <a:fld id="{8E99916D-3917-4A43-8E37-B9A046D2A2B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B-9FBD-4567-B278-8D7F7B9E6C86}"/>
                </c:ext>
              </c:extLst>
            </c:dLbl>
            <c:dLbl>
              <c:idx val="28"/>
              <c:layout>
                <c:manualLayout>
                  <c:x val="5.316091352600761E-2"/>
                  <c:y val="-3.4090909090909158E-2"/>
                </c:manualLayout>
              </c:layout>
              <c:tx>
                <c:rich>
                  <a:bodyPr/>
                  <a:lstStyle/>
                  <a:p>
                    <a:fld id="{79D914B4-F015-4DE5-9C4E-E7655958AB59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9FBD-4567-B278-8D7F7B9E6C86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9FBD-4567-B278-8D7F7B9E6C86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9FBD-4567-B278-8D7F7B9E6C86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9FBD-4567-B278-8D7F7B9E6C86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9FBD-4567-B278-8D7F7B9E6C86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9FBD-4567-B278-8D7F7B9E6C86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9FBD-4567-B278-8D7F7B9E6C86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9FBD-4567-B278-8D7F7B9E6C86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9FBD-4567-B278-8D7F7B9E6C86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9FBD-4567-B278-8D7F7B9E6C86}"/>
                </c:ext>
              </c:extLst>
            </c:dLbl>
            <c:dLbl>
              <c:idx val="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9FBD-4567-B278-8D7F7B9E6C86}"/>
                </c:ext>
              </c:extLst>
            </c:dLbl>
            <c:dLbl>
              <c:idx val="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9FBD-4567-B278-8D7F7B9E6C86}"/>
                </c:ext>
              </c:extLst>
            </c:dLbl>
            <c:dLbl>
              <c:idx val="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9FBD-4567-B278-8D7F7B9E6C86}"/>
                </c:ext>
              </c:extLst>
            </c:dLbl>
            <c:dLbl>
              <c:idx val="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9FBD-4567-B278-8D7F7B9E6C86}"/>
                </c:ext>
              </c:extLst>
            </c:dLbl>
            <c:dLbl>
              <c:idx val="4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9FBD-4567-B278-8D7F7B9E6C86}"/>
                </c:ext>
              </c:extLst>
            </c:dLbl>
            <c:dLbl>
              <c:idx val="4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9FBD-4567-B278-8D7F7B9E6C86}"/>
                </c:ext>
              </c:extLst>
            </c:dLbl>
            <c:dLbl>
              <c:idx val="4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9FBD-4567-B278-8D7F7B9E6C86}"/>
                </c:ext>
              </c:extLst>
            </c:dLbl>
            <c:dLbl>
              <c:idx val="4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9FBD-4567-B278-8D7F7B9E6C86}"/>
                </c:ext>
              </c:extLst>
            </c:dLbl>
            <c:dLbl>
              <c:idx val="4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9FBD-4567-B278-8D7F7B9E6C86}"/>
                </c:ext>
              </c:extLst>
            </c:dLbl>
            <c:dLbl>
              <c:idx val="47"/>
              <c:layout>
                <c:manualLayout>
                  <c:x val="0.12931033019839688"/>
                  <c:y val="-5.6818181818181816E-2"/>
                </c:manualLayout>
              </c:layout>
              <c:tx>
                <c:rich>
                  <a:bodyPr/>
                  <a:lstStyle/>
                  <a:p>
                    <a:fld id="{CF86A17A-BEEB-4BB9-9761-0F5E7F383F18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9FBD-4567-B278-8D7F7B9E6C86}"/>
                </c:ext>
              </c:extLst>
            </c:dLbl>
            <c:dLbl>
              <c:idx val="48"/>
              <c:layout>
                <c:manualLayout>
                  <c:x val="2.4425284593030418E-2"/>
                  <c:y val="2.2727272727272728E-2"/>
                </c:manualLayout>
              </c:layout>
              <c:tx>
                <c:rich>
                  <a:bodyPr/>
                  <a:lstStyle/>
                  <a:p>
                    <a:fld id="{E8BEEA39-CC71-4C42-8B48-1509846C4A38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9FBD-4567-B278-8D7F7B9E6C86}"/>
                </c:ext>
              </c:extLst>
            </c:dLbl>
            <c:dLbl>
              <c:idx val="49"/>
              <c:layout>
                <c:manualLayout>
                  <c:x val="6.4655165099198442E-2"/>
                  <c:y val="-6.6287878787878854E-2"/>
                </c:manualLayout>
              </c:layout>
              <c:tx>
                <c:rich>
                  <a:bodyPr/>
                  <a:lstStyle/>
                  <a:p>
                    <a:fld id="{2E39DB90-5BEA-4E6F-96BF-FAD063D1C304}" type="CELLRANGE">
                      <a:rPr lang="en-US" dirty="0"/>
                      <a:pPr/>
                      <a:t>[CELLRAN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9FBD-4567-B278-8D7F7B9E6C86}"/>
                </c:ext>
              </c:extLst>
            </c:dLbl>
            <c:dLbl>
              <c:idx val="50"/>
              <c:layout>
                <c:manualLayout>
                  <c:x val="0.13649423743164116"/>
                  <c:y val="-0.24810606060606064"/>
                </c:manualLayout>
              </c:layout>
              <c:tx>
                <c:rich>
                  <a:bodyPr/>
                  <a:lstStyle/>
                  <a:p>
                    <a:fld id="{7565F089-5144-487C-B956-72FBBDF2513B}" type="CELLRANGE">
                      <a:rPr lang="en-US" smtClean="0"/>
                      <a:pPr/>
                      <a:t>[CELLRANGE]</a:t>
                    </a:fld>
                    <a:r>
                      <a:rPr lang="en-US" dirty="0"/>
                      <a:t>s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9FBD-4567-B278-8D7F7B9E6C86}"/>
                </c:ext>
              </c:extLst>
            </c:dLbl>
            <c:dLbl>
              <c:idx val="5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9FBD-4567-B278-8D7F7B9E6C86}"/>
                </c:ext>
              </c:extLst>
            </c:dLbl>
            <c:dLbl>
              <c:idx val="5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9FBD-4567-B278-8D7F7B9E6C86}"/>
                </c:ext>
              </c:extLst>
            </c:dLbl>
            <c:dLbl>
              <c:idx val="5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9FBD-4567-B278-8D7F7B9E6C86}"/>
                </c:ext>
              </c:extLst>
            </c:dLbl>
            <c:dLbl>
              <c:idx val="5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9FBD-4567-B278-8D7F7B9E6C86}"/>
                </c:ext>
              </c:extLst>
            </c:dLbl>
            <c:dLbl>
              <c:idx val="5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9FBD-4567-B278-8D7F7B9E6C86}"/>
                </c:ext>
              </c:extLst>
            </c:dLbl>
            <c:dLbl>
              <c:idx val="5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9FBD-4567-B278-8D7F7B9E6C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Gill Sans MT" panose="020B050202010402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3175" cap="flat" cmpd="sng" algn="ctr">
                      <a:solidFill>
                        <a:schemeClr val="bg2">
                          <a:lumMod val="9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[USA GREEN TECH EXPORTS HS.xlsx]combined2'!$M$2:$M$58</c:f>
              <c:numCache>
                <c:formatCode>0%</c:formatCode>
                <c:ptCount val="57"/>
                <c:pt idx="0">
                  <c:v>8.0415168373203269E-2</c:v>
                </c:pt>
                <c:pt idx="1">
                  <c:v>4.7827779224590555E-2</c:v>
                </c:pt>
                <c:pt idx="2">
                  <c:v>3.0829447769121186E-2</c:v>
                </c:pt>
                <c:pt idx="3">
                  <c:v>5.9237193314624487E-2</c:v>
                </c:pt>
                <c:pt idx="4">
                  <c:v>3.8743299600120212E-2</c:v>
                </c:pt>
                <c:pt idx="5">
                  <c:v>9.0598789614674533E-2</c:v>
                </c:pt>
                <c:pt idx="6">
                  <c:v>0.32677720091536672</c:v>
                </c:pt>
                <c:pt idx="7">
                  <c:v>0.21099286481276022</c:v>
                </c:pt>
                <c:pt idx="8">
                  <c:v>7.3761190697237716E-2</c:v>
                </c:pt>
                <c:pt idx="9">
                  <c:v>4.3093600062267159E-2</c:v>
                </c:pt>
                <c:pt idx="10">
                  <c:v>4.3840661734709338E-2</c:v>
                </c:pt>
                <c:pt idx="11">
                  <c:v>5.4016260587316192E-2</c:v>
                </c:pt>
                <c:pt idx="12">
                  <c:v>9.4302064085402509E-2</c:v>
                </c:pt>
                <c:pt idx="13">
                  <c:v>5.7980261749435505E-2</c:v>
                </c:pt>
                <c:pt idx="14">
                  <c:v>9.9367965042851822E-2</c:v>
                </c:pt>
                <c:pt idx="15">
                  <c:v>6.5093808625406452E-2</c:v>
                </c:pt>
                <c:pt idx="16">
                  <c:v>9.0568672360955074E-2</c:v>
                </c:pt>
                <c:pt idx="17">
                  <c:v>9.7377408536612683E-2</c:v>
                </c:pt>
                <c:pt idx="18">
                  <c:v>0.11034512315492406</c:v>
                </c:pt>
                <c:pt idx="19">
                  <c:v>0.19365295607298896</c:v>
                </c:pt>
                <c:pt idx="20">
                  <c:v>0.10881291793468087</c:v>
                </c:pt>
                <c:pt idx="21">
                  <c:v>0.12754713140203433</c:v>
                </c:pt>
                <c:pt idx="22">
                  <c:v>2.4878700596904255E-2</c:v>
                </c:pt>
                <c:pt idx="23">
                  <c:v>5.4159644129740593E-2</c:v>
                </c:pt>
                <c:pt idx="24">
                  <c:v>6.0944129375929933E-2</c:v>
                </c:pt>
                <c:pt idx="25">
                  <c:v>9.8458786724980901E-2</c:v>
                </c:pt>
                <c:pt idx="26">
                  <c:v>4.7272084248443882E-2</c:v>
                </c:pt>
                <c:pt idx="27">
                  <c:v>1.0628636550539252E-3</c:v>
                </c:pt>
                <c:pt idx="28">
                  <c:v>0.21511528773121869</c:v>
                </c:pt>
                <c:pt idx="29">
                  <c:v>4.1729985276169411E-2</c:v>
                </c:pt>
                <c:pt idx="30">
                  <c:v>2.9713670333371137E-2</c:v>
                </c:pt>
                <c:pt idx="31">
                  <c:v>6.5911727270750273E-2</c:v>
                </c:pt>
                <c:pt idx="32">
                  <c:v>6.0250447072961011E-2</c:v>
                </c:pt>
                <c:pt idx="33">
                  <c:v>5.0129965301135594E-2</c:v>
                </c:pt>
                <c:pt idx="34">
                  <c:v>0.12885202931803552</c:v>
                </c:pt>
                <c:pt idx="35">
                  <c:v>2.1792675455422433E-2</c:v>
                </c:pt>
                <c:pt idx="36">
                  <c:v>6.6141848484087315E-2</c:v>
                </c:pt>
                <c:pt idx="37">
                  <c:v>1.5447468912299523E-2</c:v>
                </c:pt>
                <c:pt idx="38">
                  <c:v>1.3617259721849021E-2</c:v>
                </c:pt>
                <c:pt idx="39">
                  <c:v>0.11449046098823293</c:v>
                </c:pt>
                <c:pt idx="40">
                  <c:v>0.1736369807656418</c:v>
                </c:pt>
                <c:pt idx="41">
                  <c:v>0.12128759563427258</c:v>
                </c:pt>
                <c:pt idx="42">
                  <c:v>0.12156125507700753</c:v>
                </c:pt>
                <c:pt idx="43">
                  <c:v>0.10527873764559752</c:v>
                </c:pt>
                <c:pt idx="44">
                  <c:v>0.11427537713244151</c:v>
                </c:pt>
                <c:pt idx="45">
                  <c:v>0.12344609402343402</c:v>
                </c:pt>
                <c:pt idx="46">
                  <c:v>0.13376738562925736</c:v>
                </c:pt>
                <c:pt idx="47">
                  <c:v>0.18673436366607252</c:v>
                </c:pt>
                <c:pt idx="48">
                  <c:v>0.22525451466722574</c:v>
                </c:pt>
                <c:pt idx="49">
                  <c:v>0.18829346759720458</c:v>
                </c:pt>
                <c:pt idx="50">
                  <c:v>0.13067983944620568</c:v>
                </c:pt>
                <c:pt idx="51">
                  <c:v>6.0556793785481226E-2</c:v>
                </c:pt>
                <c:pt idx="52">
                  <c:v>7.8066097676973201E-2</c:v>
                </c:pt>
                <c:pt idx="53">
                  <c:v>8.5638706510138288E-2</c:v>
                </c:pt>
                <c:pt idx="54">
                  <c:v>7.8130398728279538E-2</c:v>
                </c:pt>
                <c:pt idx="55">
                  <c:v>3.6946384721561434E-2</c:v>
                </c:pt>
                <c:pt idx="56">
                  <c:v>0.13563989636259965</c:v>
                </c:pt>
              </c:numCache>
            </c:numRef>
          </c:xVal>
          <c:yVal>
            <c:numRef>
              <c:f>'[USA GREEN TECH EXPORTS HS.xlsx]combined2'!$L$2:$L$58</c:f>
              <c:numCache>
                <c:formatCode>0%</c:formatCode>
                <c:ptCount val="57"/>
                <c:pt idx="0">
                  <c:v>0.13745115543681052</c:v>
                </c:pt>
                <c:pt idx="1">
                  <c:v>9.3047522707044548E-3</c:v>
                </c:pt>
                <c:pt idx="2">
                  <c:v>-0.12348950758014446</c:v>
                </c:pt>
                <c:pt idx="3">
                  <c:v>2.3501613854114978E-2</c:v>
                </c:pt>
                <c:pt idx="4">
                  <c:v>-8.0127242536780746E-2</c:v>
                </c:pt>
                <c:pt idx="5">
                  <c:v>-4.5966966620841473E-2</c:v>
                </c:pt>
                <c:pt idx="6">
                  <c:v>-4.8011588937115643E-2</c:v>
                </c:pt>
                <c:pt idx="7">
                  <c:v>-4.5261249152860589E-2</c:v>
                </c:pt>
                <c:pt idx="8">
                  <c:v>2.8668336036975602E-2</c:v>
                </c:pt>
                <c:pt idx="9">
                  <c:v>2.7584591649610874E-2</c:v>
                </c:pt>
                <c:pt idx="10">
                  <c:v>-9.5568371881805461E-2</c:v>
                </c:pt>
                <c:pt idx="11">
                  <c:v>-8.9113257493657252E-4</c:v>
                </c:pt>
                <c:pt idx="12">
                  <c:v>-6.542173136976504E-3</c:v>
                </c:pt>
                <c:pt idx="13">
                  <c:v>3.6194863300308598E-2</c:v>
                </c:pt>
                <c:pt idx="14">
                  <c:v>0.19961047800731999</c:v>
                </c:pt>
                <c:pt idx="15">
                  <c:v>-3.8335332402936607E-2</c:v>
                </c:pt>
                <c:pt idx="16">
                  <c:v>-2.564306322421812E-2</c:v>
                </c:pt>
                <c:pt idx="17">
                  <c:v>2.114383236076536E-2</c:v>
                </c:pt>
                <c:pt idx="18">
                  <c:v>-2.1206325377684077E-2</c:v>
                </c:pt>
                <c:pt idx="19">
                  <c:v>0.13713182620644196</c:v>
                </c:pt>
                <c:pt idx="20">
                  <c:v>4.0123366108412016E-2</c:v>
                </c:pt>
                <c:pt idx="21">
                  <c:v>6.114892030285745E-2</c:v>
                </c:pt>
                <c:pt idx="22">
                  <c:v>-8.6920358640516712E-2</c:v>
                </c:pt>
                <c:pt idx="23">
                  <c:v>-2.2919858087008037E-4</c:v>
                </c:pt>
                <c:pt idx="24">
                  <c:v>-2.6130322269529306E-2</c:v>
                </c:pt>
                <c:pt idx="25">
                  <c:v>-3.5770845695991822E-2</c:v>
                </c:pt>
                <c:pt idx="26">
                  <c:v>-2.8327518873847598E-2</c:v>
                </c:pt>
                <c:pt idx="27">
                  <c:v>-0.13880924058884106</c:v>
                </c:pt>
                <c:pt idx="28">
                  <c:v>6.3985835586461565E-2</c:v>
                </c:pt>
                <c:pt idx="29">
                  <c:v>-3.1064255058098674E-2</c:v>
                </c:pt>
                <c:pt idx="30">
                  <c:v>-1.9318901868788332E-2</c:v>
                </c:pt>
                <c:pt idx="31">
                  <c:v>-4.4086533655972204E-2</c:v>
                </c:pt>
                <c:pt idx="32">
                  <c:v>-9.0121298915291193E-2</c:v>
                </c:pt>
                <c:pt idx="33">
                  <c:v>-7.4865935350628229E-2</c:v>
                </c:pt>
                <c:pt idx="34">
                  <c:v>3.1814254692180265E-2</c:v>
                </c:pt>
                <c:pt idx="35">
                  <c:v>-1.4031498199174893E-2</c:v>
                </c:pt>
                <c:pt idx="36">
                  <c:v>-8.4871663222394408E-2</c:v>
                </c:pt>
                <c:pt idx="37">
                  <c:v>-3.7943357283949701E-2</c:v>
                </c:pt>
                <c:pt idx="38">
                  <c:v>3.6713989562813257E-2</c:v>
                </c:pt>
                <c:pt idx="39">
                  <c:v>-1.8756544978641331E-2</c:v>
                </c:pt>
                <c:pt idx="40">
                  <c:v>-1.9864906665951518E-2</c:v>
                </c:pt>
                <c:pt idx="41">
                  <c:v>1.1970305582695602E-2</c:v>
                </c:pt>
                <c:pt idx="42">
                  <c:v>3.1574799505455761E-2</c:v>
                </c:pt>
                <c:pt idx="43">
                  <c:v>-6.2798273064196164E-2</c:v>
                </c:pt>
                <c:pt idx="44">
                  <c:v>-4.908866116485922E-3</c:v>
                </c:pt>
                <c:pt idx="45">
                  <c:v>-4.1810041679754698E-3</c:v>
                </c:pt>
                <c:pt idx="46">
                  <c:v>-2.2100288524154906E-2</c:v>
                </c:pt>
                <c:pt idx="47">
                  <c:v>-2.0775281827826677E-4</c:v>
                </c:pt>
                <c:pt idx="48">
                  <c:v>6.7679897659657678E-2</c:v>
                </c:pt>
                <c:pt idx="49">
                  <c:v>7.7348921148329502E-2</c:v>
                </c:pt>
                <c:pt idx="50">
                  <c:v>8.5787289576586587E-2</c:v>
                </c:pt>
                <c:pt idx="51">
                  <c:v>4.1954328322725484E-3</c:v>
                </c:pt>
                <c:pt idx="52">
                  <c:v>-4.6276683916678121E-2</c:v>
                </c:pt>
                <c:pt idx="53">
                  <c:v>-2.2384228798665303E-2</c:v>
                </c:pt>
                <c:pt idx="54">
                  <c:v>-5.4538238866890146E-2</c:v>
                </c:pt>
                <c:pt idx="55">
                  <c:v>-5.1235529557049318E-2</c:v>
                </c:pt>
                <c:pt idx="56">
                  <c:v>7.5164948170971052E-2</c:v>
                </c:pt>
              </c:numCache>
            </c:numRef>
          </c:yVal>
          <c:bubbleSize>
            <c:numRef>
              <c:f>'[USA GREEN TECH EXPORTS HS.xlsx]combined2'!$K$2:$K$58</c:f>
              <c:numCache>
                <c:formatCode>_("$"* #,##0_);_("$"* \(#,##0\);_("$"* "-"??_);_(@_)</c:formatCode>
                <c:ptCount val="57"/>
                <c:pt idx="0">
                  <c:v>1242055.4450000001</c:v>
                </c:pt>
                <c:pt idx="1">
                  <c:v>103394.5385</c:v>
                </c:pt>
                <c:pt idx="2">
                  <c:v>23909.6315</c:v>
                </c:pt>
                <c:pt idx="3">
                  <c:v>9098.4565000000002</c:v>
                </c:pt>
                <c:pt idx="4">
                  <c:v>23908.226999999999</c:v>
                </c:pt>
                <c:pt idx="5">
                  <c:v>237551.342</c:v>
                </c:pt>
                <c:pt idx="6">
                  <c:v>1590155.8015000001</c:v>
                </c:pt>
                <c:pt idx="7">
                  <c:v>3786851.321</c:v>
                </c:pt>
                <c:pt idx="8">
                  <c:v>614530.59400000004</c:v>
                </c:pt>
                <c:pt idx="9">
                  <c:v>46143.186499999996</c:v>
                </c:pt>
                <c:pt idx="10">
                  <c:v>47816.4925</c:v>
                </c:pt>
                <c:pt idx="11">
                  <c:v>109821.572</c:v>
                </c:pt>
                <c:pt idx="12">
                  <c:v>175745.27600000001</c:v>
                </c:pt>
                <c:pt idx="13">
                  <c:v>125722.7325</c:v>
                </c:pt>
                <c:pt idx="14">
                  <c:v>119132.4325</c:v>
                </c:pt>
                <c:pt idx="15">
                  <c:v>578125.68149999995</c:v>
                </c:pt>
                <c:pt idx="16">
                  <c:v>578826.57750000001</c:v>
                </c:pt>
                <c:pt idx="17">
                  <c:v>994202.51699999999</c:v>
                </c:pt>
                <c:pt idx="18">
                  <c:v>720859.42599999998</c:v>
                </c:pt>
                <c:pt idx="19">
                  <c:v>1922596.3049999999</c:v>
                </c:pt>
                <c:pt idx="20">
                  <c:v>2984709.0364999999</c:v>
                </c:pt>
                <c:pt idx="21">
                  <c:v>2012503.0975000001</c:v>
                </c:pt>
                <c:pt idx="22">
                  <c:v>74202.269</c:v>
                </c:pt>
                <c:pt idx="23">
                  <c:v>299454.598</c:v>
                </c:pt>
                <c:pt idx="24">
                  <c:v>2856666.7570000002</c:v>
                </c:pt>
                <c:pt idx="25">
                  <c:v>2028125.6365</c:v>
                </c:pt>
                <c:pt idx="26">
                  <c:v>151425.8885</c:v>
                </c:pt>
                <c:pt idx="27">
                  <c:v>7596.6564999999991</c:v>
                </c:pt>
                <c:pt idx="28">
                  <c:v>431230.44099999999</c:v>
                </c:pt>
                <c:pt idx="29">
                  <c:v>882577.27949999995</c:v>
                </c:pt>
                <c:pt idx="30">
                  <c:v>373151.924</c:v>
                </c:pt>
                <c:pt idx="31">
                  <c:v>133397.8505</c:v>
                </c:pt>
                <c:pt idx="32">
                  <c:v>29211.56</c:v>
                </c:pt>
                <c:pt idx="33">
                  <c:v>45646.243000000002</c:v>
                </c:pt>
                <c:pt idx="34">
                  <c:v>202709.82150000002</c:v>
                </c:pt>
                <c:pt idx="35">
                  <c:v>1393772.0405000001</c:v>
                </c:pt>
                <c:pt idx="36">
                  <c:v>888796.66249999998</c:v>
                </c:pt>
                <c:pt idx="37">
                  <c:v>32685.279999999999</c:v>
                </c:pt>
                <c:pt idx="38">
                  <c:v>602900.20250000001</c:v>
                </c:pt>
                <c:pt idx="39">
                  <c:v>705718.45699999994</c:v>
                </c:pt>
                <c:pt idx="40">
                  <c:v>758427.4665000001</c:v>
                </c:pt>
                <c:pt idx="41">
                  <c:v>687640.86100000003</c:v>
                </c:pt>
                <c:pt idx="42">
                  <c:v>1095409.693</c:v>
                </c:pt>
                <c:pt idx="43">
                  <c:v>368842.462</c:v>
                </c:pt>
                <c:pt idx="44">
                  <c:v>496846.91899999999</c:v>
                </c:pt>
                <c:pt idx="45">
                  <c:v>807287.22549999994</c:v>
                </c:pt>
                <c:pt idx="46">
                  <c:v>362182.40049999999</c:v>
                </c:pt>
                <c:pt idx="47">
                  <c:v>754833.96250000002</c:v>
                </c:pt>
                <c:pt idx="48">
                  <c:v>2201766.9345</c:v>
                </c:pt>
                <c:pt idx="49">
                  <c:v>2447543.9180000001</c:v>
                </c:pt>
                <c:pt idx="50">
                  <c:v>1789670.3369999998</c:v>
                </c:pt>
                <c:pt idx="51">
                  <c:v>559757.90599999996</c:v>
                </c:pt>
                <c:pt idx="52">
                  <c:v>1838874.152</c:v>
                </c:pt>
                <c:pt idx="53">
                  <c:v>736510.554</c:v>
                </c:pt>
                <c:pt idx="54">
                  <c:v>1619299.1655000001</c:v>
                </c:pt>
                <c:pt idx="55">
                  <c:v>236207.9235</c:v>
                </c:pt>
                <c:pt idx="56">
                  <c:v>519872.07699999999</c:v>
                </c:pt>
              </c:numCache>
            </c:numRef>
          </c:bubbleSize>
          <c:bubble3D val="1"/>
          <c:extLst>
            <c:ext xmlns:c15="http://schemas.microsoft.com/office/drawing/2012/chart" uri="{02D57815-91ED-43cb-92C2-25804820EDAC}">
              <c15:datalabelsRange>
                <c15:f>'[USA GREEN TECH EXPORTS HS.xlsx]combined2'!$J$2:$J$58</c15:f>
                <c15:dlblRangeCache>
                  <c:ptCount val="57"/>
                  <c:pt idx="0">
                    <c:v>381800 Chemical elements; doped for use in</c:v>
                  </c:pt>
                  <c:pt idx="1">
                    <c:v>840290 Boilers; parts of steam or other va</c:v>
                  </c:pt>
                  <c:pt idx="2">
                    <c:v>840410 Boilers; auxiliary plant, for use w</c:v>
                  </c:pt>
                  <c:pt idx="3">
                    <c:v>840420 Boilers; condensers, for steam or o</c:v>
                  </c:pt>
                  <c:pt idx="4">
                    <c:v>840490 Boilers; parts of auxiliary plant, </c:v>
                  </c:pt>
                  <c:pt idx="5">
                    <c:v>840690 Turbines; parts of steam and other </c:v>
                  </c:pt>
                  <c:pt idx="6">
                    <c:v>841182 Turbines; gas-turbines (excluding t</c:v>
                  </c:pt>
                  <c:pt idx="7">
                    <c:v>841199 Turbines; parts of gas turbines (ex</c:v>
                  </c:pt>
                  <c:pt idx="8">
                    <c:v>841290 Engines; parts, for engines and mot</c:v>
                  </c:pt>
                  <c:pt idx="9">
                    <c:v>841320 Pumps; hand, fitted or designed to </c:v>
                  </c:pt>
                  <c:pt idx="10">
                    <c:v>841780 Furnaces and ovens; including incin</c:v>
                  </c:pt>
                  <c:pt idx="11">
                    <c:v>841790 Furnaces and ovens; parts of non-el</c:v>
                  </c:pt>
                  <c:pt idx="12">
                    <c:v>841919 Heaters; instantaneous or storage w</c:v>
                  </c:pt>
                  <c:pt idx="13">
                    <c:v>841939 Dryers; for products n.e.c. in head</c:v>
                  </c:pt>
                  <c:pt idx="14">
                    <c:v>841960 Machinery; for liquefying air or ga</c:v>
                  </c:pt>
                  <c:pt idx="15">
                    <c:v>841989 Machinery, plant and laboratory equ</c:v>
                  </c:pt>
                  <c:pt idx="16">
                    <c:v>841990 Machinery, plant and laboratory equ</c:v>
                  </c:pt>
                  <c:pt idx="17">
                    <c:v>842121 Machinery; for filtering or purifyi</c:v>
                  </c:pt>
                  <c:pt idx="18">
                    <c:v>842123 Machinery; filtering or purifying m</c:v>
                  </c:pt>
                  <c:pt idx="19">
                    <c:v>842129 Machinery; for filtering or purifyi</c:v>
                  </c:pt>
                  <c:pt idx="20">
                    <c:v>842139 Machinery; for filtering or purifyi</c:v>
                  </c:pt>
                  <c:pt idx="21">
                    <c:v>842199 Machinery; parts for filtering or p</c:v>
                  </c:pt>
                  <c:pt idx="22">
                    <c:v>847420 Machines; for crushing or grinding </c:v>
                  </c:pt>
                  <c:pt idx="23">
                    <c:v>847982 Machines; for mixing, kneading, cru</c:v>
                  </c:pt>
                  <c:pt idx="24">
                    <c:v>847989 Machines and mechanical appliances;</c:v>
                  </c:pt>
                  <c:pt idx="25">
                    <c:v>847990 Machines and mechanical appliances;</c:v>
                  </c:pt>
                  <c:pt idx="26">
                    <c:v>850164 Electric generators; AC generators,</c:v>
                  </c:pt>
                  <c:pt idx="27">
                    <c:v>850231 Electric generating sets; wind-powe</c:v>
                  </c:pt>
                  <c:pt idx="28">
                    <c:v>850239 Electric generating sets; (excludin</c:v>
                  </c:pt>
                  <c:pt idx="29">
                    <c:v>850300 Electric motors and generators; par</c:v>
                  </c:pt>
                  <c:pt idx="30">
                    <c:v>850490 Electrical transformers, static con</c:v>
                  </c:pt>
                  <c:pt idx="31">
                    <c:v>851410 Furnaces and ovens; electric, for i</c:v>
                  </c:pt>
                  <c:pt idx="32">
                    <c:v>851420 Furnaces and ovens; electric, for i</c:v>
                  </c:pt>
                  <c:pt idx="33">
                    <c:v>851430 Furnaces and ovens; electric, for i</c:v>
                  </c:pt>
                  <c:pt idx="34">
                    <c:v>851490 Furnaces, ovens and heating equipme</c:v>
                  </c:pt>
                  <c:pt idx="35">
                    <c:v>854140 Electrical apparatus; photosensitiv</c:v>
                  </c:pt>
                  <c:pt idx="36">
                    <c:v>854390 Electrical machines and apparatus; </c:v>
                  </c:pt>
                  <c:pt idx="37">
                    <c:v>890391 Sailboats; with or without auxiliar</c:v>
                  </c:pt>
                  <c:pt idx="38">
                    <c:v>901380 Optical devices, appliances and ins</c:v>
                  </c:pt>
                  <c:pt idx="39">
                    <c:v>901390 Optical appliances and instruments;</c:v>
                  </c:pt>
                  <c:pt idx="40">
                    <c:v>901580 Surveying equipment; articles n.e.c</c:v>
                  </c:pt>
                  <c:pt idx="41">
                    <c:v>902610 Instruments and apparatus; for meas</c:v>
                  </c:pt>
                  <c:pt idx="42">
                    <c:v>902620 Instruments and apparatus; for meas</c:v>
                  </c:pt>
                  <c:pt idx="43">
                    <c:v>902680 Instruments and apparatus; for meas</c:v>
                  </c:pt>
                  <c:pt idx="44">
                    <c:v>902690 Instruments and apparatus; parts an</c:v>
                  </c:pt>
                  <c:pt idx="45">
                    <c:v>902710 Instruments and apparatus; gas or s</c:v>
                  </c:pt>
                  <c:pt idx="46">
                    <c:v>902720 Chromatographs and electrophoresis </c:v>
                  </c:pt>
                  <c:pt idx="47">
                    <c:v>902730 Spectrometers, spectrophotometers a</c:v>
                  </c:pt>
                  <c:pt idx="48">
                    <c:v>902750 Instruments and apparatus; using op</c:v>
                  </c:pt>
                  <c:pt idx="49">
                    <c:v>902780 Instruments and apparatus; for phys</c:v>
                  </c:pt>
                  <c:pt idx="50">
                    <c:v>902790 Microtomes and parts and accessorie</c:v>
                  </c:pt>
                  <c:pt idx="51">
                    <c:v>903149 Optical instruments and appliances;</c:v>
                  </c:pt>
                  <c:pt idx="52">
                    <c:v>903180 Instruments, appliances and machine</c:v>
                  </c:pt>
                  <c:pt idx="53">
                    <c:v>903190 Instruments, appliances and machine</c:v>
                  </c:pt>
                  <c:pt idx="54">
                    <c:v>903289 Regulating or controlling instrumen</c:v>
                  </c:pt>
                  <c:pt idx="55">
                    <c:v>903290 Regulating or controlling instrumen</c:v>
                  </c:pt>
                  <c:pt idx="56">
                    <c:v>903300 Machines and appliances, instrument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9-9FBD-4567-B278-8D7F7B9E6C86}"/>
            </c:ext>
          </c:extLst>
        </c:ser>
        <c:ser>
          <c:idx val="1"/>
          <c:order val="1"/>
          <c:spPr>
            <a:solidFill>
              <a:schemeClr val="accent4">
                <a:shade val="39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5:$M$5</c:f>
              <c:numCache>
                <c:formatCode>0%</c:formatCode>
                <c:ptCount val="2"/>
                <c:pt idx="0">
                  <c:v>2.3501613854114978E-2</c:v>
                </c:pt>
                <c:pt idx="1">
                  <c:v>5.9237193314624487E-2</c:v>
                </c:pt>
              </c:numCache>
            </c:numRef>
          </c:yVal>
          <c:bubbleSize>
            <c:numRef>
              <c:f>'[USA GREEN TECH EXPORTS HS.xlsx]combined2'!$L$6:$M$6</c:f>
              <c:numCache>
                <c:formatCode>0%</c:formatCode>
                <c:ptCount val="2"/>
                <c:pt idx="0">
                  <c:v>-8.0127242536780746E-2</c:v>
                </c:pt>
                <c:pt idx="1">
                  <c:v>3.8743299600120212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3A-9FBD-4567-B278-8D7F7B9E6C86}"/>
            </c:ext>
          </c:extLst>
        </c:ser>
        <c:ser>
          <c:idx val="2"/>
          <c:order val="2"/>
          <c:spPr>
            <a:solidFill>
              <a:schemeClr val="accent4">
                <a:shade val="44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7:$M$7</c:f>
              <c:numCache>
                <c:formatCode>0%</c:formatCode>
                <c:ptCount val="2"/>
                <c:pt idx="0">
                  <c:v>-4.5966966620841473E-2</c:v>
                </c:pt>
                <c:pt idx="1">
                  <c:v>9.0598789614674533E-2</c:v>
                </c:pt>
              </c:numCache>
            </c:numRef>
          </c:yVal>
          <c:bubbleSize>
            <c:numRef>
              <c:f>'[USA GREEN TECH EXPORTS HS.xlsx]combined2'!$L$8:$M$8</c:f>
              <c:numCache>
                <c:formatCode>0%</c:formatCode>
                <c:ptCount val="2"/>
                <c:pt idx="0">
                  <c:v>-4.8011588937115643E-2</c:v>
                </c:pt>
                <c:pt idx="1">
                  <c:v>0.3267772009153667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3B-9FBD-4567-B278-8D7F7B9E6C86}"/>
            </c:ext>
          </c:extLst>
        </c:ser>
        <c:ser>
          <c:idx val="3"/>
          <c:order val="3"/>
          <c:spPr>
            <a:solidFill>
              <a:schemeClr val="accent4">
                <a:shade val="49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9:$M$9</c:f>
              <c:numCache>
                <c:formatCode>0%</c:formatCode>
                <c:ptCount val="2"/>
                <c:pt idx="0">
                  <c:v>-4.5261249152860589E-2</c:v>
                </c:pt>
                <c:pt idx="1">
                  <c:v>0.21099286481276022</c:v>
                </c:pt>
              </c:numCache>
            </c:numRef>
          </c:yVal>
          <c:bubbleSize>
            <c:numRef>
              <c:f>'[USA GREEN TECH EXPORTS HS.xlsx]combined2'!$L$10:$M$10</c:f>
              <c:numCache>
                <c:formatCode>0%</c:formatCode>
                <c:ptCount val="2"/>
                <c:pt idx="0">
                  <c:v>2.8668336036975602E-2</c:v>
                </c:pt>
                <c:pt idx="1">
                  <c:v>7.3761190697237716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3C-9FBD-4567-B278-8D7F7B9E6C86}"/>
            </c:ext>
          </c:extLst>
        </c:ser>
        <c:ser>
          <c:idx val="4"/>
          <c:order val="4"/>
          <c:spPr>
            <a:solidFill>
              <a:schemeClr val="accent4">
                <a:shade val="54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11:$M$11</c:f>
              <c:numCache>
                <c:formatCode>0%</c:formatCode>
                <c:ptCount val="2"/>
                <c:pt idx="0">
                  <c:v>2.7584591649610874E-2</c:v>
                </c:pt>
                <c:pt idx="1">
                  <c:v>4.3093600062267159E-2</c:v>
                </c:pt>
              </c:numCache>
            </c:numRef>
          </c:yVal>
          <c:bubbleSize>
            <c:numRef>
              <c:f>'[USA GREEN TECH EXPORTS HS.xlsx]combined2'!$L$12:$M$12</c:f>
              <c:numCache>
                <c:formatCode>0%</c:formatCode>
                <c:ptCount val="2"/>
                <c:pt idx="0">
                  <c:v>-9.5568371881805461E-2</c:v>
                </c:pt>
                <c:pt idx="1">
                  <c:v>4.3840661734709338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3D-9FBD-4567-B278-8D7F7B9E6C86}"/>
            </c:ext>
          </c:extLst>
        </c:ser>
        <c:ser>
          <c:idx val="5"/>
          <c:order val="5"/>
          <c:spPr>
            <a:solidFill>
              <a:schemeClr val="accent4">
                <a:shade val="58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13:$M$13</c:f>
              <c:numCache>
                <c:formatCode>0%</c:formatCode>
                <c:ptCount val="2"/>
                <c:pt idx="0">
                  <c:v>-8.9113257493657252E-4</c:v>
                </c:pt>
                <c:pt idx="1">
                  <c:v>5.4016260587316192E-2</c:v>
                </c:pt>
              </c:numCache>
            </c:numRef>
          </c:yVal>
          <c:bubbleSize>
            <c:numRef>
              <c:f>'[USA GREEN TECH EXPORTS HS.xlsx]combined2'!$L$14:$M$14</c:f>
              <c:numCache>
                <c:formatCode>0%</c:formatCode>
                <c:ptCount val="2"/>
                <c:pt idx="0">
                  <c:v>-6.542173136976504E-3</c:v>
                </c:pt>
                <c:pt idx="1">
                  <c:v>9.4302064085402509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3E-9FBD-4567-B278-8D7F7B9E6C86}"/>
            </c:ext>
          </c:extLst>
        </c:ser>
        <c:ser>
          <c:idx val="6"/>
          <c:order val="6"/>
          <c:spPr>
            <a:solidFill>
              <a:schemeClr val="accent4">
                <a:shade val="63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15:$M$15</c:f>
              <c:numCache>
                <c:formatCode>0%</c:formatCode>
                <c:ptCount val="2"/>
                <c:pt idx="0">
                  <c:v>3.6194863300308598E-2</c:v>
                </c:pt>
                <c:pt idx="1">
                  <c:v>5.7980261749435505E-2</c:v>
                </c:pt>
              </c:numCache>
            </c:numRef>
          </c:yVal>
          <c:bubbleSize>
            <c:numRef>
              <c:f>'[USA GREEN TECH EXPORTS HS.xlsx]combined2'!$L$16:$M$16</c:f>
              <c:numCache>
                <c:formatCode>0%</c:formatCode>
                <c:ptCount val="2"/>
                <c:pt idx="0">
                  <c:v>0.19961047800731999</c:v>
                </c:pt>
                <c:pt idx="1">
                  <c:v>9.9367965042851822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3F-9FBD-4567-B278-8D7F7B9E6C86}"/>
            </c:ext>
          </c:extLst>
        </c:ser>
        <c:ser>
          <c:idx val="7"/>
          <c:order val="7"/>
          <c:spPr>
            <a:solidFill>
              <a:schemeClr val="accent4">
                <a:shade val="68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17:$M$17</c:f>
              <c:numCache>
                <c:formatCode>0%</c:formatCode>
                <c:ptCount val="2"/>
                <c:pt idx="0">
                  <c:v>-3.8335332402936607E-2</c:v>
                </c:pt>
                <c:pt idx="1">
                  <c:v>6.5093808625406452E-2</c:v>
                </c:pt>
              </c:numCache>
            </c:numRef>
          </c:yVal>
          <c:bubbleSize>
            <c:numRef>
              <c:f>'[USA GREEN TECH EXPORTS HS.xlsx]combined2'!$L$18:$M$18</c:f>
              <c:numCache>
                <c:formatCode>0%</c:formatCode>
                <c:ptCount val="2"/>
                <c:pt idx="0">
                  <c:v>-2.564306322421812E-2</c:v>
                </c:pt>
                <c:pt idx="1">
                  <c:v>9.0568672360955074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0-9FBD-4567-B278-8D7F7B9E6C86}"/>
            </c:ext>
          </c:extLst>
        </c:ser>
        <c:ser>
          <c:idx val="8"/>
          <c:order val="8"/>
          <c:spPr>
            <a:solidFill>
              <a:schemeClr val="accent4">
                <a:shade val="73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19:$M$19</c:f>
              <c:numCache>
                <c:formatCode>0%</c:formatCode>
                <c:ptCount val="2"/>
                <c:pt idx="0">
                  <c:v>2.114383236076536E-2</c:v>
                </c:pt>
                <c:pt idx="1">
                  <c:v>9.7377408536612683E-2</c:v>
                </c:pt>
              </c:numCache>
            </c:numRef>
          </c:yVal>
          <c:bubbleSize>
            <c:numRef>
              <c:f>'[USA GREEN TECH EXPORTS HS.xlsx]combined2'!$L$20:$M$20</c:f>
              <c:numCache>
                <c:formatCode>0%</c:formatCode>
                <c:ptCount val="2"/>
                <c:pt idx="0">
                  <c:v>-2.1206325377684077E-2</c:v>
                </c:pt>
                <c:pt idx="1">
                  <c:v>0.11034512315492406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1-9FBD-4567-B278-8D7F7B9E6C86}"/>
            </c:ext>
          </c:extLst>
        </c:ser>
        <c:ser>
          <c:idx val="9"/>
          <c:order val="9"/>
          <c:spPr>
            <a:solidFill>
              <a:schemeClr val="accent4">
                <a:shade val="78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21:$M$21</c:f>
              <c:numCache>
                <c:formatCode>0%</c:formatCode>
                <c:ptCount val="2"/>
                <c:pt idx="0">
                  <c:v>0.13713182620644196</c:v>
                </c:pt>
                <c:pt idx="1">
                  <c:v>0.19365295607298896</c:v>
                </c:pt>
              </c:numCache>
            </c:numRef>
          </c:yVal>
          <c:bubbleSize>
            <c:numRef>
              <c:f>'[USA GREEN TECH EXPORTS HS.xlsx]combined2'!$L$22:$M$22</c:f>
              <c:numCache>
                <c:formatCode>0%</c:formatCode>
                <c:ptCount val="2"/>
                <c:pt idx="0">
                  <c:v>4.0123366108412016E-2</c:v>
                </c:pt>
                <c:pt idx="1">
                  <c:v>0.10881291793468087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2-9FBD-4567-B278-8D7F7B9E6C86}"/>
            </c:ext>
          </c:extLst>
        </c:ser>
        <c:ser>
          <c:idx val="10"/>
          <c:order val="10"/>
          <c:spPr>
            <a:solidFill>
              <a:schemeClr val="accent4">
                <a:shade val="83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23:$M$23</c:f>
              <c:numCache>
                <c:formatCode>0%</c:formatCode>
                <c:ptCount val="2"/>
                <c:pt idx="0">
                  <c:v>6.114892030285745E-2</c:v>
                </c:pt>
                <c:pt idx="1">
                  <c:v>0.12754713140203433</c:v>
                </c:pt>
              </c:numCache>
            </c:numRef>
          </c:yVal>
          <c:bubbleSize>
            <c:numRef>
              <c:f>'[USA GREEN TECH EXPORTS HS.xlsx]combined2'!$L$24:$M$24</c:f>
              <c:numCache>
                <c:formatCode>0%</c:formatCode>
                <c:ptCount val="2"/>
                <c:pt idx="0">
                  <c:v>-8.6920358640516712E-2</c:v>
                </c:pt>
                <c:pt idx="1">
                  <c:v>2.4878700596904255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3-9FBD-4567-B278-8D7F7B9E6C86}"/>
            </c:ext>
          </c:extLst>
        </c:ser>
        <c:ser>
          <c:idx val="11"/>
          <c:order val="11"/>
          <c:spPr>
            <a:solidFill>
              <a:schemeClr val="accent4">
                <a:shade val="87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25:$M$25</c:f>
              <c:numCache>
                <c:formatCode>0%</c:formatCode>
                <c:ptCount val="2"/>
                <c:pt idx="0">
                  <c:v>-2.2919858087008037E-4</c:v>
                </c:pt>
                <c:pt idx="1">
                  <c:v>5.4159644129740593E-2</c:v>
                </c:pt>
              </c:numCache>
            </c:numRef>
          </c:yVal>
          <c:bubbleSize>
            <c:numRef>
              <c:f>'[USA GREEN TECH EXPORTS HS.xlsx]combined2'!$L$26:$M$26</c:f>
              <c:numCache>
                <c:formatCode>0%</c:formatCode>
                <c:ptCount val="2"/>
                <c:pt idx="0">
                  <c:v>-2.6130322269529306E-2</c:v>
                </c:pt>
                <c:pt idx="1">
                  <c:v>6.0944129375929933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4-9FBD-4567-B278-8D7F7B9E6C86}"/>
            </c:ext>
          </c:extLst>
        </c:ser>
        <c:ser>
          <c:idx val="12"/>
          <c:order val="12"/>
          <c:spPr>
            <a:solidFill>
              <a:schemeClr val="accent4">
                <a:shade val="92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27:$M$27</c:f>
              <c:numCache>
                <c:formatCode>0%</c:formatCode>
                <c:ptCount val="2"/>
                <c:pt idx="0">
                  <c:v>-3.5770845695991822E-2</c:v>
                </c:pt>
                <c:pt idx="1">
                  <c:v>9.8458786724980901E-2</c:v>
                </c:pt>
              </c:numCache>
            </c:numRef>
          </c:yVal>
          <c:bubbleSize>
            <c:numRef>
              <c:f>'[USA GREEN TECH EXPORTS HS.xlsx]combined2'!$L$28:$M$28</c:f>
              <c:numCache>
                <c:formatCode>0%</c:formatCode>
                <c:ptCount val="2"/>
                <c:pt idx="0">
                  <c:v>-2.8327518873847598E-2</c:v>
                </c:pt>
                <c:pt idx="1">
                  <c:v>4.7272084248443882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5-9FBD-4567-B278-8D7F7B9E6C86}"/>
            </c:ext>
          </c:extLst>
        </c:ser>
        <c:ser>
          <c:idx val="13"/>
          <c:order val="13"/>
          <c:spPr>
            <a:solidFill>
              <a:schemeClr val="accent4">
                <a:shade val="97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29:$M$29</c:f>
              <c:numCache>
                <c:formatCode>0%</c:formatCode>
                <c:ptCount val="2"/>
                <c:pt idx="0">
                  <c:v>-0.13880924058884106</c:v>
                </c:pt>
                <c:pt idx="1">
                  <c:v>1.0628636550539252E-3</c:v>
                </c:pt>
              </c:numCache>
            </c:numRef>
          </c:yVal>
          <c:bubbleSize>
            <c:numRef>
              <c:f>'[USA GREEN TECH EXPORTS HS.xlsx]combined2'!$L$30:$M$30</c:f>
              <c:numCache>
                <c:formatCode>0%</c:formatCode>
                <c:ptCount val="2"/>
                <c:pt idx="0">
                  <c:v>6.3985835586461565E-2</c:v>
                </c:pt>
                <c:pt idx="1">
                  <c:v>0.21511528773121869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6-9FBD-4567-B278-8D7F7B9E6C86}"/>
            </c:ext>
          </c:extLst>
        </c:ser>
        <c:ser>
          <c:idx val="14"/>
          <c:order val="14"/>
          <c:spPr>
            <a:solidFill>
              <a:schemeClr val="accent4">
                <a:tint val="98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31:$M$31</c:f>
              <c:numCache>
                <c:formatCode>0%</c:formatCode>
                <c:ptCount val="2"/>
                <c:pt idx="0">
                  <c:v>-3.1064255058098674E-2</c:v>
                </c:pt>
                <c:pt idx="1">
                  <c:v>4.1729985276169411E-2</c:v>
                </c:pt>
              </c:numCache>
            </c:numRef>
          </c:yVal>
          <c:bubbleSize>
            <c:numRef>
              <c:f>'[USA GREEN TECH EXPORTS HS.xlsx]combined2'!$L$32:$M$32</c:f>
              <c:numCache>
                <c:formatCode>0%</c:formatCode>
                <c:ptCount val="2"/>
                <c:pt idx="0">
                  <c:v>-1.9318901868788332E-2</c:v>
                </c:pt>
                <c:pt idx="1">
                  <c:v>2.9713670333371137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7-9FBD-4567-B278-8D7F7B9E6C86}"/>
            </c:ext>
          </c:extLst>
        </c:ser>
        <c:ser>
          <c:idx val="15"/>
          <c:order val="15"/>
          <c:spPr>
            <a:solidFill>
              <a:schemeClr val="accent4">
                <a:tint val="93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33:$M$33</c:f>
              <c:numCache>
                <c:formatCode>0%</c:formatCode>
                <c:ptCount val="2"/>
                <c:pt idx="0">
                  <c:v>-4.4086533655972204E-2</c:v>
                </c:pt>
                <c:pt idx="1">
                  <c:v>6.5911727270750273E-2</c:v>
                </c:pt>
              </c:numCache>
            </c:numRef>
          </c:yVal>
          <c:bubbleSize>
            <c:numRef>
              <c:f>'[USA GREEN TECH EXPORTS HS.xlsx]combined2'!$L$34:$M$34</c:f>
              <c:numCache>
                <c:formatCode>0%</c:formatCode>
                <c:ptCount val="2"/>
                <c:pt idx="0">
                  <c:v>-9.0121298915291193E-2</c:v>
                </c:pt>
                <c:pt idx="1">
                  <c:v>6.0250447072961011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8-9FBD-4567-B278-8D7F7B9E6C86}"/>
            </c:ext>
          </c:extLst>
        </c:ser>
        <c:ser>
          <c:idx val="16"/>
          <c:order val="16"/>
          <c:spPr>
            <a:solidFill>
              <a:schemeClr val="accent4">
                <a:tint val="88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35:$M$35</c:f>
              <c:numCache>
                <c:formatCode>0%</c:formatCode>
                <c:ptCount val="2"/>
                <c:pt idx="0">
                  <c:v>-7.4865935350628229E-2</c:v>
                </c:pt>
                <c:pt idx="1">
                  <c:v>5.0129965301135594E-2</c:v>
                </c:pt>
              </c:numCache>
            </c:numRef>
          </c:yVal>
          <c:bubbleSize>
            <c:numRef>
              <c:f>'[USA GREEN TECH EXPORTS HS.xlsx]combined2'!$L$36:$M$36</c:f>
              <c:numCache>
                <c:formatCode>0%</c:formatCode>
                <c:ptCount val="2"/>
                <c:pt idx="0">
                  <c:v>3.1814254692180265E-2</c:v>
                </c:pt>
                <c:pt idx="1">
                  <c:v>0.1288520293180355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9-9FBD-4567-B278-8D7F7B9E6C86}"/>
            </c:ext>
          </c:extLst>
        </c:ser>
        <c:ser>
          <c:idx val="17"/>
          <c:order val="17"/>
          <c:spPr>
            <a:solidFill>
              <a:schemeClr val="accent4">
                <a:tint val="84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37:$M$37</c:f>
              <c:numCache>
                <c:formatCode>0%</c:formatCode>
                <c:ptCount val="2"/>
                <c:pt idx="0">
                  <c:v>-1.4031498199174893E-2</c:v>
                </c:pt>
                <c:pt idx="1">
                  <c:v>2.1792675455422433E-2</c:v>
                </c:pt>
              </c:numCache>
            </c:numRef>
          </c:yVal>
          <c:bubbleSize>
            <c:numRef>
              <c:f>'[USA GREEN TECH EXPORTS HS.xlsx]combined2'!$L$38:$M$38</c:f>
              <c:numCache>
                <c:formatCode>0%</c:formatCode>
                <c:ptCount val="2"/>
                <c:pt idx="0">
                  <c:v>-8.4871663222394408E-2</c:v>
                </c:pt>
                <c:pt idx="1">
                  <c:v>6.6141848484087315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A-9FBD-4567-B278-8D7F7B9E6C86}"/>
            </c:ext>
          </c:extLst>
        </c:ser>
        <c:ser>
          <c:idx val="18"/>
          <c:order val="18"/>
          <c:spPr>
            <a:solidFill>
              <a:schemeClr val="accent4">
                <a:tint val="79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39:$M$39</c:f>
              <c:numCache>
                <c:formatCode>0%</c:formatCode>
                <c:ptCount val="2"/>
                <c:pt idx="0">
                  <c:v>-3.7943357283949701E-2</c:v>
                </c:pt>
                <c:pt idx="1">
                  <c:v>1.5447468912299523E-2</c:v>
                </c:pt>
              </c:numCache>
            </c:numRef>
          </c:yVal>
          <c:bubbleSize>
            <c:numRef>
              <c:f>'[USA GREEN TECH EXPORTS HS.xlsx]combined2'!$L$40:$M$40</c:f>
              <c:numCache>
                <c:formatCode>0%</c:formatCode>
                <c:ptCount val="2"/>
                <c:pt idx="0">
                  <c:v>3.6713989562813257E-2</c:v>
                </c:pt>
                <c:pt idx="1">
                  <c:v>1.3617259721849021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B-9FBD-4567-B278-8D7F7B9E6C86}"/>
            </c:ext>
          </c:extLst>
        </c:ser>
        <c:ser>
          <c:idx val="19"/>
          <c:order val="19"/>
          <c:spPr>
            <a:solidFill>
              <a:schemeClr val="accent4">
                <a:tint val="74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41:$M$41</c:f>
              <c:numCache>
                <c:formatCode>0%</c:formatCode>
                <c:ptCount val="2"/>
                <c:pt idx="0">
                  <c:v>-1.8756544978641331E-2</c:v>
                </c:pt>
                <c:pt idx="1">
                  <c:v>0.11449046098823293</c:v>
                </c:pt>
              </c:numCache>
            </c:numRef>
          </c:yVal>
          <c:bubbleSize>
            <c:numRef>
              <c:f>'[USA GREEN TECH EXPORTS HS.xlsx]combined2'!$L$42:$M$42</c:f>
              <c:numCache>
                <c:formatCode>0%</c:formatCode>
                <c:ptCount val="2"/>
                <c:pt idx="0">
                  <c:v>-1.9864906665951518E-2</c:v>
                </c:pt>
                <c:pt idx="1">
                  <c:v>0.1736369807656418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C-9FBD-4567-B278-8D7F7B9E6C86}"/>
            </c:ext>
          </c:extLst>
        </c:ser>
        <c:ser>
          <c:idx val="20"/>
          <c:order val="20"/>
          <c:spPr>
            <a:solidFill>
              <a:schemeClr val="accent4">
                <a:tint val="69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43:$M$43</c:f>
              <c:numCache>
                <c:formatCode>0%</c:formatCode>
                <c:ptCount val="2"/>
                <c:pt idx="0">
                  <c:v>1.1970305582695602E-2</c:v>
                </c:pt>
                <c:pt idx="1">
                  <c:v>0.12128759563427258</c:v>
                </c:pt>
              </c:numCache>
            </c:numRef>
          </c:yVal>
          <c:bubbleSize>
            <c:numRef>
              <c:f>'[USA GREEN TECH EXPORTS HS.xlsx]combined2'!$L$44:$M$44</c:f>
              <c:numCache>
                <c:formatCode>0%</c:formatCode>
                <c:ptCount val="2"/>
                <c:pt idx="0">
                  <c:v>3.1574799505455761E-2</c:v>
                </c:pt>
                <c:pt idx="1">
                  <c:v>0.12156125507700753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D-9FBD-4567-B278-8D7F7B9E6C86}"/>
            </c:ext>
          </c:extLst>
        </c:ser>
        <c:ser>
          <c:idx val="21"/>
          <c:order val="21"/>
          <c:spPr>
            <a:solidFill>
              <a:schemeClr val="accent4">
                <a:tint val="64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45:$M$45</c:f>
              <c:numCache>
                <c:formatCode>0%</c:formatCode>
                <c:ptCount val="2"/>
                <c:pt idx="0">
                  <c:v>-6.2798273064196164E-2</c:v>
                </c:pt>
                <c:pt idx="1">
                  <c:v>0.10527873764559752</c:v>
                </c:pt>
              </c:numCache>
            </c:numRef>
          </c:yVal>
          <c:bubbleSize>
            <c:numRef>
              <c:f>'[USA GREEN TECH EXPORTS HS.xlsx]combined2'!$L$46:$M$46</c:f>
              <c:numCache>
                <c:formatCode>0%</c:formatCode>
                <c:ptCount val="2"/>
                <c:pt idx="0">
                  <c:v>-4.908866116485922E-3</c:v>
                </c:pt>
                <c:pt idx="1">
                  <c:v>0.11427537713244151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E-9FBD-4567-B278-8D7F7B9E6C86}"/>
            </c:ext>
          </c:extLst>
        </c:ser>
        <c:ser>
          <c:idx val="22"/>
          <c:order val="22"/>
          <c:spPr>
            <a:solidFill>
              <a:schemeClr val="accent4">
                <a:tint val="59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47:$M$47</c:f>
              <c:numCache>
                <c:formatCode>0%</c:formatCode>
                <c:ptCount val="2"/>
                <c:pt idx="0">
                  <c:v>-4.1810041679754698E-3</c:v>
                </c:pt>
                <c:pt idx="1">
                  <c:v>0.12344609402343402</c:v>
                </c:pt>
              </c:numCache>
            </c:numRef>
          </c:yVal>
          <c:bubbleSize>
            <c:numRef>
              <c:f>'[USA GREEN TECH EXPORTS HS.xlsx]combined2'!$L$48:$M$48</c:f>
              <c:numCache>
                <c:formatCode>0%</c:formatCode>
                <c:ptCount val="2"/>
                <c:pt idx="0">
                  <c:v>-2.2100288524154906E-2</c:v>
                </c:pt>
                <c:pt idx="1">
                  <c:v>0.13376738562925736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4F-9FBD-4567-B278-8D7F7B9E6C86}"/>
            </c:ext>
          </c:extLst>
        </c:ser>
        <c:ser>
          <c:idx val="23"/>
          <c:order val="23"/>
          <c:spPr>
            <a:solidFill>
              <a:schemeClr val="accent4">
                <a:tint val="55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49:$M$49</c:f>
              <c:numCache>
                <c:formatCode>0%</c:formatCode>
                <c:ptCount val="2"/>
                <c:pt idx="0">
                  <c:v>-2.0775281827826677E-4</c:v>
                </c:pt>
                <c:pt idx="1">
                  <c:v>0.18673436366607252</c:v>
                </c:pt>
              </c:numCache>
            </c:numRef>
          </c:yVal>
          <c:bubbleSize>
            <c:numRef>
              <c:f>'[USA GREEN TECH EXPORTS HS.xlsx]combined2'!$L$50:$M$50</c:f>
              <c:numCache>
                <c:formatCode>0%</c:formatCode>
                <c:ptCount val="2"/>
                <c:pt idx="0">
                  <c:v>6.7679897659657678E-2</c:v>
                </c:pt>
                <c:pt idx="1">
                  <c:v>0.22525451466722574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50-9FBD-4567-B278-8D7F7B9E6C86}"/>
            </c:ext>
          </c:extLst>
        </c:ser>
        <c:ser>
          <c:idx val="24"/>
          <c:order val="24"/>
          <c:spPr>
            <a:solidFill>
              <a:schemeClr val="accent4">
                <a:tint val="50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51:$M$51</c:f>
              <c:numCache>
                <c:formatCode>0%</c:formatCode>
                <c:ptCount val="2"/>
                <c:pt idx="0">
                  <c:v>7.7348921148329502E-2</c:v>
                </c:pt>
                <c:pt idx="1">
                  <c:v>0.18829346759720458</c:v>
                </c:pt>
              </c:numCache>
            </c:numRef>
          </c:yVal>
          <c:bubbleSize>
            <c:numRef>
              <c:f>'[USA GREEN TECH EXPORTS HS.xlsx]combined2'!$L$52:$M$52</c:f>
              <c:numCache>
                <c:formatCode>0%</c:formatCode>
                <c:ptCount val="2"/>
                <c:pt idx="0">
                  <c:v>8.5787289576586587E-2</c:v>
                </c:pt>
                <c:pt idx="1">
                  <c:v>0.13067983944620568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51-9FBD-4567-B278-8D7F7B9E6C86}"/>
            </c:ext>
          </c:extLst>
        </c:ser>
        <c:ser>
          <c:idx val="25"/>
          <c:order val="25"/>
          <c:spPr>
            <a:solidFill>
              <a:schemeClr val="accent4">
                <a:tint val="45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53:$M$53</c:f>
              <c:numCache>
                <c:formatCode>0%</c:formatCode>
                <c:ptCount val="2"/>
                <c:pt idx="0">
                  <c:v>4.1954328322725484E-3</c:v>
                </c:pt>
                <c:pt idx="1">
                  <c:v>6.0556793785481226E-2</c:v>
                </c:pt>
              </c:numCache>
            </c:numRef>
          </c:yVal>
          <c:bubbleSize>
            <c:numRef>
              <c:f>'[USA GREEN TECH EXPORTS HS.xlsx]combined2'!$L$54:$M$54</c:f>
              <c:numCache>
                <c:formatCode>0%</c:formatCode>
                <c:ptCount val="2"/>
                <c:pt idx="0">
                  <c:v>-4.6276683916678121E-2</c:v>
                </c:pt>
                <c:pt idx="1">
                  <c:v>7.8066097676973201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52-9FBD-4567-B278-8D7F7B9E6C86}"/>
            </c:ext>
          </c:extLst>
        </c:ser>
        <c:ser>
          <c:idx val="26"/>
          <c:order val="26"/>
          <c:spPr>
            <a:solidFill>
              <a:schemeClr val="accent4">
                <a:tint val="40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55:$M$55</c:f>
              <c:numCache>
                <c:formatCode>0%</c:formatCode>
                <c:ptCount val="2"/>
                <c:pt idx="0">
                  <c:v>-2.2384228798665303E-2</c:v>
                </c:pt>
                <c:pt idx="1">
                  <c:v>8.5638706510138288E-2</c:v>
                </c:pt>
              </c:numCache>
            </c:numRef>
          </c:yVal>
          <c:bubbleSize>
            <c:numRef>
              <c:f>'[USA GREEN TECH EXPORTS HS.xlsx]combined2'!$L$56:$M$56</c:f>
              <c:numCache>
                <c:formatCode>0%</c:formatCode>
                <c:ptCount val="2"/>
                <c:pt idx="0">
                  <c:v>-5.4538238866890146E-2</c:v>
                </c:pt>
                <c:pt idx="1">
                  <c:v>7.8130398728279538E-2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53-9FBD-4567-B278-8D7F7B9E6C86}"/>
            </c:ext>
          </c:extLst>
        </c:ser>
        <c:ser>
          <c:idx val="27"/>
          <c:order val="27"/>
          <c:spPr>
            <a:solidFill>
              <a:schemeClr val="accent4">
                <a:tint val="35000"/>
                <a:alpha val="75000"/>
              </a:schemeClr>
            </a:solidFill>
            <a:ln>
              <a:noFill/>
            </a:ln>
            <a:effectLst/>
          </c:spPr>
          <c:invertIfNegative val="0"/>
          <c:xVal>
            <c:numRef>
              <c:f>'[USA GREEN TECH EXPORTS HS.xlsx]combined2'!$L$2:$M$2</c:f>
              <c:numCache>
                <c:formatCode>0%</c:formatCode>
                <c:ptCount val="2"/>
                <c:pt idx="0">
                  <c:v>0.13745115543681052</c:v>
                </c:pt>
                <c:pt idx="1">
                  <c:v>8.0415168373203269E-2</c:v>
                </c:pt>
              </c:numCache>
            </c:numRef>
          </c:xVal>
          <c:yVal>
            <c:numRef>
              <c:f>'[USA GREEN TECH EXPORTS HS.xlsx]combined2'!$L$57:$M$57</c:f>
              <c:numCache>
                <c:formatCode>0%</c:formatCode>
                <c:ptCount val="2"/>
                <c:pt idx="0">
                  <c:v>-5.1235529557049318E-2</c:v>
                </c:pt>
                <c:pt idx="1">
                  <c:v>3.6946384721561434E-2</c:v>
                </c:pt>
              </c:numCache>
            </c:numRef>
          </c:yVal>
          <c:bubbleSize>
            <c:numRef>
              <c:f>'[USA GREEN TECH EXPORTS HS.xlsx]combined2'!$L$58:$M$58</c:f>
              <c:numCache>
                <c:formatCode>0%</c:formatCode>
                <c:ptCount val="2"/>
                <c:pt idx="0">
                  <c:v>7.5164948170971052E-2</c:v>
                </c:pt>
                <c:pt idx="1">
                  <c:v>0.13563989636259965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54-9FBD-4567-B278-8D7F7B9E6C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703696784"/>
        <c:axId val="703706352"/>
      </c:bubbleChart>
      <c:valAx>
        <c:axId val="70369678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C00000"/>
                    </a:solidFill>
                    <a:latin typeface="Gill Sans MT" panose="020B0502020104020203" pitchFamily="34" charset="0"/>
                    <a:ea typeface="+mn-ea"/>
                    <a:cs typeface="+mn-cs"/>
                  </a:defRPr>
                </a:pPr>
                <a:r>
                  <a:rPr lang="en-US" sz="1200" dirty="0">
                    <a:solidFill>
                      <a:srgbClr val="C00000"/>
                    </a:solidFill>
                  </a:rPr>
                  <a:t>US share of global exports</a:t>
                </a:r>
              </a:p>
            </c:rich>
          </c:tx>
          <c:layout>
            <c:manualLayout>
              <c:xMode val="edge"/>
              <c:yMode val="edge"/>
              <c:x val="0.49049221394167092"/>
              <c:y val="0.9140129356237968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rgbClr val="C00000"/>
                  </a:solidFill>
                  <a:latin typeface="Gill Sans MT" panose="020B0502020104020203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ill Sans MT" panose="020B0502020104020203" pitchFamily="34" charset="0"/>
                <a:ea typeface="+mn-ea"/>
                <a:cs typeface="+mn-cs"/>
              </a:defRPr>
            </a:pPr>
            <a:endParaRPr lang="en-US"/>
          </a:p>
        </c:txPr>
        <c:crossAx val="703706352"/>
        <c:crosses val="autoZero"/>
        <c:crossBetween val="midCat"/>
      </c:valAx>
      <c:valAx>
        <c:axId val="7037063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C00000"/>
                    </a:solidFill>
                    <a:latin typeface="Gill Sans MT" panose="020B0502020104020203" pitchFamily="34" charset="0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rgbClr val="C00000"/>
                    </a:solidFill>
                  </a:rPr>
                  <a:t>Annual growth in U.S. exports 2017-21</a:t>
                </a:r>
              </a:p>
            </c:rich>
          </c:tx>
          <c:layout>
            <c:manualLayout>
              <c:xMode val="edge"/>
              <c:yMode val="edge"/>
              <c:x val="7.1808480724130722E-2"/>
              <c:y val="0.1313520886296628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rgbClr val="C00000"/>
                  </a:solidFill>
                  <a:latin typeface="Gill Sans MT" panose="020B0502020104020203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Gill Sans MT" panose="020B0502020104020203" pitchFamily="34" charset="0"/>
                <a:ea typeface="+mn-ea"/>
                <a:cs typeface="+mn-cs"/>
              </a:defRPr>
            </a:pPr>
            <a:endParaRPr lang="en-US"/>
          </a:p>
        </c:txPr>
        <c:crossAx val="70369678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700" b="1">
          <a:latin typeface="Gill Sans MT" panose="020B0502020104020203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307178612982655"/>
          <c:y val="2.7918781725888325E-2"/>
          <c:w val="0.78332472873880443"/>
          <c:h val="0.782248047177044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fig 4'!$E$47</c:f>
              <c:strCache>
                <c:ptCount val="1"/>
                <c:pt idx="0">
                  <c:v>Large (&gt;250 employees)</c:v>
                </c:pt>
              </c:strCache>
            </c:strRef>
          </c:tx>
          <c:spPr>
            <a:solidFill>
              <a:srgbClr val="F97C34">
                <a:lumMod val="40000"/>
                <a:lumOff val="60000"/>
              </a:srgbClr>
            </a:solidFill>
            <a:ln>
              <a:solidFill>
                <a:srgbClr val="F97C34">
                  <a:lumMod val="20000"/>
                  <a:lumOff val="80000"/>
                </a:srgbClr>
              </a:solidFill>
            </a:ln>
            <a:effectLst/>
          </c:spPr>
          <c:invertIfNegative val="0"/>
          <c:cat>
            <c:strRef>
              <c:f>'fig 4'!$G$43:$AA$43</c:f>
              <c:strCache>
                <c:ptCount val="21"/>
                <c:pt idx="0">
                  <c:v>Souq</c:v>
                </c:pt>
                <c:pt idx="1">
                  <c:v>Takealot</c:v>
                </c:pt>
                <c:pt idx="2">
                  <c:v>Bidorbuy</c:v>
                </c:pt>
                <c:pt idx="3">
                  <c:v>Etsy</c:v>
                </c:pt>
                <c:pt idx="4">
                  <c:v>Wechat</c:v>
                </c:pt>
                <c:pt idx="5">
                  <c:v>Aliexpress</c:v>
                </c:pt>
                <c:pt idx="6">
                  <c:v>eBay</c:v>
                </c:pt>
                <c:pt idx="7">
                  <c:v>Alibaba</c:v>
                </c:pt>
                <c:pt idx="8">
                  <c:v>Upwork</c:v>
                </c:pt>
                <c:pt idx="9">
                  <c:v>Amazon</c:v>
                </c:pt>
                <c:pt idx="10">
                  <c:v>Freelancer</c:v>
                </c:pt>
                <c:pt idx="11">
                  <c:v>Konga</c:v>
                </c:pt>
                <c:pt idx="12">
                  <c:v>OLX</c:v>
                </c:pt>
                <c:pt idx="13">
                  <c:v>Own online store</c:v>
                </c:pt>
                <c:pt idx="14">
                  <c:v>Jumia</c:v>
                </c:pt>
                <c:pt idx="15">
                  <c:v>YouTube</c:v>
                </c:pt>
                <c:pt idx="16">
                  <c:v>Our own website</c:v>
                </c:pt>
                <c:pt idx="17">
                  <c:v>Twitter</c:v>
                </c:pt>
                <c:pt idx="18">
                  <c:v>WhatsApp</c:v>
                </c:pt>
                <c:pt idx="19">
                  <c:v>Instagram</c:v>
                </c:pt>
                <c:pt idx="20">
                  <c:v>Facebook</c:v>
                </c:pt>
              </c:strCache>
            </c:strRef>
          </c:cat>
          <c:val>
            <c:numRef>
              <c:f>'fig 4'!$G$47:$AA$47</c:f>
              <c:numCache>
                <c:formatCode>General</c:formatCode>
                <c:ptCount val="21"/>
                <c:pt idx="0">
                  <c:v>2.4306000000000001E-2</c:v>
                </c:pt>
                <c:pt idx="1">
                  <c:v>9.7222000000000003E-2</c:v>
                </c:pt>
                <c:pt idx="2">
                  <c:v>7.6388999999999999E-2</c:v>
                </c:pt>
                <c:pt idx="3">
                  <c:v>1.7361000000000001E-2</c:v>
                </c:pt>
                <c:pt idx="4">
                  <c:v>0.12790699999999999</c:v>
                </c:pt>
                <c:pt idx="5">
                  <c:v>9.0277999999999997E-2</c:v>
                </c:pt>
                <c:pt idx="6">
                  <c:v>0.114583</c:v>
                </c:pt>
                <c:pt idx="7">
                  <c:v>0.111111</c:v>
                </c:pt>
                <c:pt idx="8">
                  <c:v>5.5556000000000001E-2</c:v>
                </c:pt>
                <c:pt idx="9">
                  <c:v>0.215278</c:v>
                </c:pt>
                <c:pt idx="10">
                  <c:v>7.9861000000000001E-2</c:v>
                </c:pt>
                <c:pt idx="11">
                  <c:v>0.11805599999999999</c:v>
                </c:pt>
                <c:pt idx="12">
                  <c:v>0.152778</c:v>
                </c:pt>
                <c:pt idx="13">
                  <c:v>0.42708299999999999</c:v>
                </c:pt>
                <c:pt idx="14">
                  <c:v>0.222222</c:v>
                </c:pt>
                <c:pt idx="15">
                  <c:v>0.52325600000000005</c:v>
                </c:pt>
                <c:pt idx="16">
                  <c:v>0.73255800000000004</c:v>
                </c:pt>
                <c:pt idx="17">
                  <c:v>0.67441899999999999</c:v>
                </c:pt>
                <c:pt idx="18">
                  <c:v>0.222222</c:v>
                </c:pt>
                <c:pt idx="19">
                  <c:v>0.60763900000000004</c:v>
                </c:pt>
                <c:pt idx="20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AE-4C38-8597-22A8691C9D47}"/>
            </c:ext>
          </c:extLst>
        </c:ser>
        <c:ser>
          <c:idx val="1"/>
          <c:order val="1"/>
          <c:tx>
            <c:strRef>
              <c:f>'fig 4'!$E$46</c:f>
              <c:strCache>
                <c:ptCount val="1"/>
                <c:pt idx="0">
                  <c:v>Midsize (51-250 employees)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fig 4'!$G$43:$AA$43</c:f>
              <c:strCache>
                <c:ptCount val="21"/>
                <c:pt idx="0">
                  <c:v>Souq</c:v>
                </c:pt>
                <c:pt idx="1">
                  <c:v>Takealot</c:v>
                </c:pt>
                <c:pt idx="2">
                  <c:v>Bidorbuy</c:v>
                </c:pt>
                <c:pt idx="3">
                  <c:v>Etsy</c:v>
                </c:pt>
                <c:pt idx="4">
                  <c:v>Wechat</c:v>
                </c:pt>
                <c:pt idx="5">
                  <c:v>Aliexpress</c:v>
                </c:pt>
                <c:pt idx="6">
                  <c:v>eBay</c:v>
                </c:pt>
                <c:pt idx="7">
                  <c:v>Alibaba</c:v>
                </c:pt>
                <c:pt idx="8">
                  <c:v>Upwork</c:v>
                </c:pt>
                <c:pt idx="9">
                  <c:v>Amazon</c:v>
                </c:pt>
                <c:pt idx="10">
                  <c:v>Freelancer</c:v>
                </c:pt>
                <c:pt idx="11">
                  <c:v>Konga</c:v>
                </c:pt>
                <c:pt idx="12">
                  <c:v>OLX</c:v>
                </c:pt>
                <c:pt idx="13">
                  <c:v>Own online store</c:v>
                </c:pt>
                <c:pt idx="14">
                  <c:v>Jumia</c:v>
                </c:pt>
                <c:pt idx="15">
                  <c:v>YouTube</c:v>
                </c:pt>
                <c:pt idx="16">
                  <c:v>Our own website</c:v>
                </c:pt>
                <c:pt idx="17">
                  <c:v>Twitter</c:v>
                </c:pt>
                <c:pt idx="18">
                  <c:v>WhatsApp</c:v>
                </c:pt>
                <c:pt idx="19">
                  <c:v>Instagram</c:v>
                </c:pt>
                <c:pt idx="20">
                  <c:v>Facebook</c:v>
                </c:pt>
              </c:strCache>
            </c:strRef>
          </c:cat>
          <c:val>
            <c:numRef>
              <c:f>'fig 4'!$G$46:$AA$46</c:f>
              <c:numCache>
                <c:formatCode>General</c:formatCode>
                <c:ptCount val="21"/>
                <c:pt idx="0">
                  <c:v>5.7970000000000001E-3</c:v>
                </c:pt>
                <c:pt idx="1">
                  <c:v>5.5072000000000003E-2</c:v>
                </c:pt>
                <c:pt idx="2">
                  <c:v>2.8986000000000001E-2</c:v>
                </c:pt>
                <c:pt idx="3">
                  <c:v>2.3188E-2</c:v>
                </c:pt>
                <c:pt idx="4">
                  <c:v>4.4586000000000001E-2</c:v>
                </c:pt>
                <c:pt idx="5">
                  <c:v>4.9274999999999999E-2</c:v>
                </c:pt>
                <c:pt idx="6">
                  <c:v>9.8551E-2</c:v>
                </c:pt>
                <c:pt idx="7">
                  <c:v>9.5652000000000001E-2</c:v>
                </c:pt>
                <c:pt idx="8">
                  <c:v>3.7680999999999999E-2</c:v>
                </c:pt>
                <c:pt idx="9">
                  <c:v>0.14782600000000001</c:v>
                </c:pt>
                <c:pt idx="10">
                  <c:v>8.1158999999999995E-2</c:v>
                </c:pt>
                <c:pt idx="11">
                  <c:v>0.130435</c:v>
                </c:pt>
                <c:pt idx="12">
                  <c:v>0.19420299999999999</c:v>
                </c:pt>
                <c:pt idx="13">
                  <c:v>0.33333299999999999</c:v>
                </c:pt>
                <c:pt idx="14">
                  <c:v>0.27826099999999998</c:v>
                </c:pt>
                <c:pt idx="15">
                  <c:v>0.40127400000000002</c:v>
                </c:pt>
                <c:pt idx="16">
                  <c:v>0.57324799999999998</c:v>
                </c:pt>
                <c:pt idx="17">
                  <c:v>0.64968199999999998</c:v>
                </c:pt>
                <c:pt idx="18">
                  <c:v>0.37101499999999998</c:v>
                </c:pt>
                <c:pt idx="19">
                  <c:v>0.65217400000000003</c:v>
                </c:pt>
                <c:pt idx="20">
                  <c:v>0.831883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AE-4C38-8597-22A8691C9D47}"/>
            </c:ext>
          </c:extLst>
        </c:ser>
        <c:ser>
          <c:idx val="2"/>
          <c:order val="2"/>
          <c:tx>
            <c:strRef>
              <c:f>'fig 4'!$E$45</c:f>
              <c:strCache>
                <c:ptCount val="1"/>
                <c:pt idx="0">
                  <c:v>Small (11-50 employees)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fig 4'!$G$43:$AA$43</c:f>
              <c:strCache>
                <c:ptCount val="21"/>
                <c:pt idx="0">
                  <c:v>Souq</c:v>
                </c:pt>
                <c:pt idx="1">
                  <c:v>Takealot</c:v>
                </c:pt>
                <c:pt idx="2">
                  <c:v>Bidorbuy</c:v>
                </c:pt>
                <c:pt idx="3">
                  <c:v>Etsy</c:v>
                </c:pt>
                <c:pt idx="4">
                  <c:v>Wechat</c:v>
                </c:pt>
                <c:pt idx="5">
                  <c:v>Aliexpress</c:v>
                </c:pt>
                <c:pt idx="6">
                  <c:v>eBay</c:v>
                </c:pt>
                <c:pt idx="7">
                  <c:v>Alibaba</c:v>
                </c:pt>
                <c:pt idx="8">
                  <c:v>Upwork</c:v>
                </c:pt>
                <c:pt idx="9">
                  <c:v>Amazon</c:v>
                </c:pt>
                <c:pt idx="10">
                  <c:v>Freelancer</c:v>
                </c:pt>
                <c:pt idx="11">
                  <c:v>Konga</c:v>
                </c:pt>
                <c:pt idx="12">
                  <c:v>OLX</c:v>
                </c:pt>
                <c:pt idx="13">
                  <c:v>Own online store</c:v>
                </c:pt>
                <c:pt idx="14">
                  <c:v>Jumia</c:v>
                </c:pt>
                <c:pt idx="15">
                  <c:v>YouTube</c:v>
                </c:pt>
                <c:pt idx="16">
                  <c:v>Our own website</c:v>
                </c:pt>
                <c:pt idx="17">
                  <c:v>Twitter</c:v>
                </c:pt>
                <c:pt idx="18">
                  <c:v>WhatsApp</c:v>
                </c:pt>
                <c:pt idx="19">
                  <c:v>Instagram</c:v>
                </c:pt>
                <c:pt idx="20">
                  <c:v>Facebook</c:v>
                </c:pt>
              </c:strCache>
            </c:strRef>
          </c:cat>
          <c:val>
            <c:numRef>
              <c:f>'fig 4'!$G$45:$AA$45</c:f>
              <c:numCache>
                <c:formatCode>General</c:formatCode>
                <c:ptCount val="21"/>
                <c:pt idx="0">
                  <c:v>1.073E-2</c:v>
                </c:pt>
                <c:pt idx="1">
                  <c:v>3.4334999999999997E-2</c:v>
                </c:pt>
                <c:pt idx="2">
                  <c:v>2.5751E-2</c:v>
                </c:pt>
                <c:pt idx="3">
                  <c:v>1.073E-2</c:v>
                </c:pt>
                <c:pt idx="4">
                  <c:v>6.0606E-2</c:v>
                </c:pt>
                <c:pt idx="5">
                  <c:v>4.7210000000000002E-2</c:v>
                </c:pt>
                <c:pt idx="6">
                  <c:v>6.6524E-2</c:v>
                </c:pt>
                <c:pt idx="7">
                  <c:v>5.5794000000000003E-2</c:v>
                </c:pt>
                <c:pt idx="8">
                  <c:v>3.8627000000000002E-2</c:v>
                </c:pt>
                <c:pt idx="9">
                  <c:v>9.0129000000000001E-2</c:v>
                </c:pt>
                <c:pt idx="10">
                  <c:v>6.0086000000000001E-2</c:v>
                </c:pt>
                <c:pt idx="11">
                  <c:v>7.0815000000000003E-2</c:v>
                </c:pt>
                <c:pt idx="12">
                  <c:v>0.16523599999999999</c:v>
                </c:pt>
                <c:pt idx="13">
                  <c:v>0.285408</c:v>
                </c:pt>
                <c:pt idx="14">
                  <c:v>0.24892700000000001</c:v>
                </c:pt>
                <c:pt idx="15">
                  <c:v>0.32196999999999998</c:v>
                </c:pt>
                <c:pt idx="16">
                  <c:v>0.50757600000000003</c:v>
                </c:pt>
                <c:pt idx="17">
                  <c:v>0.58333299999999999</c:v>
                </c:pt>
                <c:pt idx="18">
                  <c:v>0.48068699999999998</c:v>
                </c:pt>
                <c:pt idx="19">
                  <c:v>0.64592300000000002</c:v>
                </c:pt>
                <c:pt idx="20">
                  <c:v>0.839056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AE-4C38-8597-22A8691C9D47}"/>
            </c:ext>
          </c:extLst>
        </c:ser>
        <c:ser>
          <c:idx val="3"/>
          <c:order val="3"/>
          <c:tx>
            <c:strRef>
              <c:f>'fig 4'!$E$44</c:f>
              <c:strCache>
                <c:ptCount val="1"/>
                <c:pt idx="0">
                  <c:v>Micro (0-10 employees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fig 4'!$G$43:$AA$43</c:f>
              <c:strCache>
                <c:ptCount val="21"/>
                <c:pt idx="0">
                  <c:v>Souq</c:v>
                </c:pt>
                <c:pt idx="1">
                  <c:v>Takealot</c:v>
                </c:pt>
                <c:pt idx="2">
                  <c:v>Bidorbuy</c:v>
                </c:pt>
                <c:pt idx="3">
                  <c:v>Etsy</c:v>
                </c:pt>
                <c:pt idx="4">
                  <c:v>Wechat</c:v>
                </c:pt>
                <c:pt idx="5">
                  <c:v>Aliexpress</c:v>
                </c:pt>
                <c:pt idx="6">
                  <c:v>eBay</c:v>
                </c:pt>
                <c:pt idx="7">
                  <c:v>Alibaba</c:v>
                </c:pt>
                <c:pt idx="8">
                  <c:v>Upwork</c:v>
                </c:pt>
                <c:pt idx="9">
                  <c:v>Amazon</c:v>
                </c:pt>
                <c:pt idx="10">
                  <c:v>Freelancer</c:v>
                </c:pt>
                <c:pt idx="11">
                  <c:v>Konga</c:v>
                </c:pt>
                <c:pt idx="12">
                  <c:v>OLX</c:v>
                </c:pt>
                <c:pt idx="13">
                  <c:v>Own online store</c:v>
                </c:pt>
                <c:pt idx="14">
                  <c:v>Jumia</c:v>
                </c:pt>
                <c:pt idx="15">
                  <c:v>YouTube</c:v>
                </c:pt>
                <c:pt idx="16">
                  <c:v>Our own website</c:v>
                </c:pt>
                <c:pt idx="17">
                  <c:v>Twitter</c:v>
                </c:pt>
                <c:pt idx="18">
                  <c:v>WhatsApp</c:v>
                </c:pt>
                <c:pt idx="19">
                  <c:v>Instagram</c:v>
                </c:pt>
                <c:pt idx="20">
                  <c:v>Facebook</c:v>
                </c:pt>
              </c:strCache>
            </c:strRef>
          </c:cat>
          <c:val>
            <c:numRef>
              <c:f>'fig 4'!$G$44:$AA$44</c:f>
              <c:numCache>
                <c:formatCode>General</c:formatCode>
                <c:ptCount val="21"/>
                <c:pt idx="0">
                  <c:v>1.9780000000000002E-3</c:v>
                </c:pt>
                <c:pt idx="1">
                  <c:v>7.9129999999999999E-3</c:v>
                </c:pt>
                <c:pt idx="2">
                  <c:v>8.9020000000000002E-3</c:v>
                </c:pt>
                <c:pt idx="3">
                  <c:v>8.9020000000000002E-3</c:v>
                </c:pt>
                <c:pt idx="4">
                  <c:v>2.3392E-2</c:v>
                </c:pt>
                <c:pt idx="5">
                  <c:v>2.3739E-2</c:v>
                </c:pt>
                <c:pt idx="6">
                  <c:v>2.5717E-2</c:v>
                </c:pt>
                <c:pt idx="7">
                  <c:v>2.6706000000000001E-2</c:v>
                </c:pt>
                <c:pt idx="8">
                  <c:v>3.1652E-2</c:v>
                </c:pt>
                <c:pt idx="9">
                  <c:v>3.2641000000000003E-2</c:v>
                </c:pt>
                <c:pt idx="10">
                  <c:v>3.8575999999999999E-2</c:v>
                </c:pt>
                <c:pt idx="11">
                  <c:v>4.8467000000000003E-2</c:v>
                </c:pt>
                <c:pt idx="12">
                  <c:v>0.11869399999999999</c:v>
                </c:pt>
                <c:pt idx="13">
                  <c:v>0.162216</c:v>
                </c:pt>
                <c:pt idx="14">
                  <c:v>0.17705199999999999</c:v>
                </c:pt>
                <c:pt idx="15">
                  <c:v>0.204678</c:v>
                </c:pt>
                <c:pt idx="16">
                  <c:v>0.26900600000000002</c:v>
                </c:pt>
                <c:pt idx="17">
                  <c:v>0.385214</c:v>
                </c:pt>
                <c:pt idx="18">
                  <c:v>0.477273</c:v>
                </c:pt>
                <c:pt idx="19">
                  <c:v>0.54841899999999999</c:v>
                </c:pt>
                <c:pt idx="20">
                  <c:v>0.790514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AE-4C38-8597-22A8691C9D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7519119"/>
        <c:axId val="637519759"/>
      </c:barChart>
      <c:catAx>
        <c:axId val="63751911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7519759"/>
        <c:crosses val="autoZero"/>
        <c:auto val="1"/>
        <c:lblAlgn val="ctr"/>
        <c:lblOffset val="100"/>
        <c:noMultiLvlLbl val="0"/>
      </c:catAx>
      <c:valAx>
        <c:axId val="637519759"/>
        <c:scaling>
          <c:orientation val="minMax"/>
        </c:scaling>
        <c:delete val="0"/>
        <c:axPos val="b"/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375191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08271081499428"/>
          <c:y val="0.89601540243972677"/>
          <c:w val="0.78937882764654421"/>
          <c:h val="9.17723664443611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 b="0">
          <a:solidFill>
            <a:sysClr val="windowText" lastClr="000000"/>
          </a:solidFill>
          <a:latin typeface="+mn-lt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8025269847404049E-2"/>
          <c:y val="0.1018928840188683"/>
          <c:w val="0.90961692671851602"/>
          <c:h val="0.6886517452224711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fig 7'!$A$2</c:f>
              <c:strCache>
                <c:ptCount val="1"/>
                <c:pt idx="0">
                  <c:v>0 markets</c:v>
                </c:pt>
              </c:strCache>
            </c:strRef>
          </c:tx>
          <c:spPr>
            <a:solidFill>
              <a:srgbClr val="000000">
                <a:lumMod val="50000"/>
                <a:lumOff val="5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2:$F$2</c:f>
              <c:numCache>
                <c:formatCode>0%</c:formatCode>
                <c:ptCount val="5"/>
                <c:pt idx="0">
                  <c:v>0.64</c:v>
                </c:pt>
                <c:pt idx="1">
                  <c:v>0.62</c:v>
                </c:pt>
                <c:pt idx="2">
                  <c:v>0.5</c:v>
                </c:pt>
                <c:pt idx="3">
                  <c:v>0.46</c:v>
                </c:pt>
                <c:pt idx="4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53-4BDD-894D-83E99FEE7987}"/>
            </c:ext>
          </c:extLst>
        </c:ser>
        <c:ser>
          <c:idx val="1"/>
          <c:order val="1"/>
          <c:tx>
            <c:strRef>
              <c:f>'fig 7'!$A$3</c:f>
              <c:strCache>
                <c:ptCount val="1"/>
                <c:pt idx="0">
                  <c:v>1 market</c:v>
                </c:pt>
              </c:strCache>
            </c:strRef>
          </c:tx>
          <c:spPr>
            <a:solidFill>
              <a:srgbClr val="27A8E0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3:$F$3</c:f>
              <c:numCache>
                <c:formatCode>0%</c:formatCode>
                <c:ptCount val="5"/>
                <c:pt idx="0">
                  <c:v>0.02</c:v>
                </c:pt>
                <c:pt idx="1">
                  <c:v>0.06</c:v>
                </c:pt>
                <c:pt idx="2">
                  <c:v>0.09</c:v>
                </c:pt>
                <c:pt idx="3">
                  <c:v>0.05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53-4BDD-894D-83E99FEE7987}"/>
            </c:ext>
          </c:extLst>
        </c:ser>
        <c:ser>
          <c:idx val="2"/>
          <c:order val="2"/>
          <c:tx>
            <c:strRef>
              <c:f>'fig 7'!$A$4</c:f>
              <c:strCache>
                <c:ptCount val="1"/>
                <c:pt idx="0">
                  <c:v>2 markets</c:v>
                </c:pt>
              </c:strCache>
            </c:strRef>
          </c:tx>
          <c:spPr>
            <a:solidFill>
              <a:srgbClr val="27A8E0">
                <a:lumMod val="40000"/>
                <a:lumOff val="60000"/>
              </a:srgbClr>
            </a:solidFill>
            <a:ln>
              <a:noFill/>
            </a:ln>
            <a:effectLst/>
          </c:spPr>
          <c:invertIfNegative val="0"/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4:$F$4</c:f>
              <c:numCache>
                <c:formatCode>0%</c:formatCode>
                <c:ptCount val="5"/>
                <c:pt idx="0">
                  <c:v>0.11</c:v>
                </c:pt>
                <c:pt idx="1">
                  <c:v>0.09</c:v>
                </c:pt>
                <c:pt idx="2">
                  <c:v>0.12</c:v>
                </c:pt>
                <c:pt idx="3">
                  <c:v>0.14000000000000001</c:v>
                </c:pt>
                <c:pt idx="4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53-4BDD-894D-83E99FEE7987}"/>
            </c:ext>
          </c:extLst>
        </c:ser>
        <c:ser>
          <c:idx val="3"/>
          <c:order val="3"/>
          <c:tx>
            <c:strRef>
              <c:f>'fig 7'!$A$5</c:f>
              <c:strCache>
                <c:ptCount val="1"/>
                <c:pt idx="0">
                  <c:v>3 markets</c:v>
                </c:pt>
              </c:strCache>
            </c:strRef>
          </c:tx>
          <c:spPr>
            <a:solidFill>
              <a:srgbClr val="27A8E0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5:$F$5</c:f>
              <c:numCache>
                <c:formatCode>0%</c:formatCode>
                <c:ptCount val="5"/>
                <c:pt idx="0">
                  <c:v>0.08</c:v>
                </c:pt>
                <c:pt idx="1">
                  <c:v>0.1</c:v>
                </c:pt>
                <c:pt idx="2">
                  <c:v>0.12</c:v>
                </c:pt>
                <c:pt idx="3">
                  <c:v>0.14000000000000001</c:v>
                </c:pt>
                <c:pt idx="4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253-4BDD-894D-83E99FEE7987}"/>
            </c:ext>
          </c:extLst>
        </c:ser>
        <c:ser>
          <c:idx val="4"/>
          <c:order val="4"/>
          <c:tx>
            <c:strRef>
              <c:f>'fig 7'!$A$6</c:f>
              <c:strCache>
                <c:ptCount val="1"/>
                <c:pt idx="0">
                  <c:v>4 markets</c:v>
                </c:pt>
              </c:strCache>
            </c:strRef>
          </c:tx>
          <c:spPr>
            <a:solidFill>
              <a:schemeClr val="accent1">
                <a:tint val="83000"/>
              </a:schemeClr>
            </a:solidFill>
            <a:ln>
              <a:noFill/>
            </a:ln>
            <a:effectLst/>
          </c:spPr>
          <c:invertIfNegative val="0"/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6:$F$6</c:f>
              <c:numCache>
                <c:formatCode>0%</c:formatCode>
                <c:ptCount val="5"/>
                <c:pt idx="0">
                  <c:v>0.05</c:v>
                </c:pt>
                <c:pt idx="1">
                  <c:v>0.02</c:v>
                </c:pt>
                <c:pt idx="2">
                  <c:v>0.03</c:v>
                </c:pt>
                <c:pt idx="3">
                  <c:v>0.04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53-4BDD-894D-83E99FEE7987}"/>
            </c:ext>
          </c:extLst>
        </c:ser>
        <c:ser>
          <c:idx val="5"/>
          <c:order val="5"/>
          <c:tx>
            <c:strRef>
              <c:f>'fig 7'!$A$7</c:f>
              <c:strCache>
                <c:ptCount val="1"/>
                <c:pt idx="0">
                  <c:v>5 markets</c:v>
                </c:pt>
              </c:strCache>
            </c:strRef>
          </c:tx>
          <c:spPr>
            <a:solidFill>
              <a:srgbClr val="27A8E0">
                <a:lumMod val="75000"/>
              </a:srgbClr>
            </a:solidFill>
            <a:ln>
              <a:noFill/>
            </a:ln>
            <a:effectLst/>
          </c:spPr>
          <c:invertIfNegative val="0"/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7:$F$7</c:f>
              <c:numCache>
                <c:formatCode>0%</c:formatCode>
                <c:ptCount val="5"/>
                <c:pt idx="0">
                  <c:v>0.1</c:v>
                </c:pt>
                <c:pt idx="1">
                  <c:v>7.0000000000000007E-2</c:v>
                </c:pt>
                <c:pt idx="2">
                  <c:v>0.09</c:v>
                </c:pt>
                <c:pt idx="3">
                  <c:v>0.12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253-4BDD-894D-83E99FEE7987}"/>
            </c:ext>
          </c:extLst>
        </c:ser>
        <c:ser>
          <c:idx val="6"/>
          <c:order val="6"/>
          <c:tx>
            <c:strRef>
              <c:f>'fig 7'!$A$8</c:f>
              <c:strCache>
                <c:ptCount val="1"/>
                <c:pt idx="0">
                  <c:v>6 or more markets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'fig 7'!$B$1:$F$1</c:f>
              <c:strCache>
                <c:ptCount val="5"/>
                <c:pt idx="0">
                  <c:v>Offline seller</c:v>
                </c:pt>
                <c:pt idx="1">
                  <c:v>Market on social media</c:v>
                </c:pt>
                <c:pt idx="2">
                  <c:v>Sell via own online store</c:v>
                </c:pt>
                <c:pt idx="3">
                  <c:v>Sell on local or regional marketplaces</c:v>
                </c:pt>
                <c:pt idx="4">
                  <c:v>Sell on global marketplaces</c:v>
                </c:pt>
              </c:strCache>
            </c:strRef>
          </c:cat>
          <c:val>
            <c:numRef>
              <c:f>'fig 7'!$B$8:$F$8</c:f>
              <c:numCache>
                <c:formatCode>0%</c:formatCode>
                <c:ptCount val="5"/>
                <c:pt idx="0">
                  <c:v>0</c:v>
                </c:pt>
                <c:pt idx="1">
                  <c:v>0.04</c:v>
                </c:pt>
                <c:pt idx="2">
                  <c:v>0.05</c:v>
                </c:pt>
                <c:pt idx="3">
                  <c:v>0.05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53-4BDD-894D-83E99FEE7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662778895"/>
        <c:axId val="662780175"/>
      </c:barChart>
      <c:catAx>
        <c:axId val="6627788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62780175"/>
        <c:crosses val="autoZero"/>
        <c:auto val="1"/>
        <c:lblAlgn val="ctr"/>
        <c:lblOffset val="100"/>
        <c:noMultiLvlLbl val="0"/>
      </c:catAx>
      <c:valAx>
        <c:axId val="66278017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627788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 b="0">
          <a:solidFill>
            <a:sysClr val="windowText" lastClr="000000"/>
          </a:solidFill>
          <a:latin typeface="+mn-lt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9451715941167729"/>
          <c:y val="2.8571428571428571E-2"/>
          <c:w val="0.46891680285247361"/>
          <c:h val="0.80911811023622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fig 10'!$F$1</c:f>
              <c:strCache>
                <c:ptCount val="1"/>
                <c:pt idx="0">
                  <c:v>Large (&gt;250 employees)</c:v>
                </c:pt>
              </c:strCache>
            </c:strRef>
          </c:tx>
          <c:spPr>
            <a:solidFill>
              <a:srgbClr val="FCB02F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10'!$B$2:$B$15</c:f>
              <c:strCache>
                <c:ptCount val="14"/>
                <c:pt idx="0">
                  <c:v>Started to export</c:v>
                </c:pt>
                <c:pt idx="1">
                  <c:v>Secured new international customers</c:v>
                </c:pt>
                <c:pt idx="2">
                  <c:v>Contracted more domestic IT, logistics and other services in my country</c:v>
                </c:pt>
                <c:pt idx="3">
                  <c:v>Improved cash flow</c:v>
                </c:pt>
                <c:pt idx="4">
                  <c:v>Diversified products and services</c:v>
                </c:pt>
                <c:pt idx="5">
                  <c:v>Increased hiring</c:v>
                </c:pt>
                <c:pt idx="6">
                  <c:v>Increased in sales to existing clients, now online</c:v>
                </c:pt>
                <c:pt idx="7">
                  <c:v>Cut time on billing and invoicing</c:v>
                </c:pt>
                <c:pt idx="8">
                  <c:v>Started exporting to new markets</c:v>
                </c:pt>
                <c:pt idx="9">
                  <c:v>Cut operating costs</c:v>
                </c:pt>
                <c:pt idx="10">
                  <c:v>Increased revenue</c:v>
                </c:pt>
                <c:pt idx="11">
                  <c:v>Increased offline sales</c:v>
                </c:pt>
                <c:pt idx="12">
                  <c:v>Became more profitable</c:v>
                </c:pt>
                <c:pt idx="13">
                  <c:v>Secured new domestic customers</c:v>
                </c:pt>
              </c:strCache>
            </c:strRef>
          </c:cat>
          <c:val>
            <c:numRef>
              <c:f>'fig 10'!$F$2:$F$15</c:f>
              <c:numCache>
                <c:formatCode>0%</c:formatCode>
                <c:ptCount val="14"/>
                <c:pt idx="0">
                  <c:v>0.55000000000000004</c:v>
                </c:pt>
                <c:pt idx="1">
                  <c:v>0.67</c:v>
                </c:pt>
                <c:pt idx="2">
                  <c:v>0.56000000000000005</c:v>
                </c:pt>
                <c:pt idx="3">
                  <c:v>0.62</c:v>
                </c:pt>
                <c:pt idx="4">
                  <c:v>0.56999999999999995</c:v>
                </c:pt>
                <c:pt idx="5">
                  <c:v>0.55000000000000004</c:v>
                </c:pt>
                <c:pt idx="6">
                  <c:v>0.6</c:v>
                </c:pt>
                <c:pt idx="7">
                  <c:v>0.63</c:v>
                </c:pt>
                <c:pt idx="8">
                  <c:v>0.67</c:v>
                </c:pt>
                <c:pt idx="9">
                  <c:v>0.66</c:v>
                </c:pt>
                <c:pt idx="10">
                  <c:v>0.67</c:v>
                </c:pt>
                <c:pt idx="11">
                  <c:v>0.62</c:v>
                </c:pt>
                <c:pt idx="12">
                  <c:v>0.69</c:v>
                </c:pt>
                <c:pt idx="13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B1-4D0C-BFBC-8819C7E837C6}"/>
            </c:ext>
          </c:extLst>
        </c:ser>
        <c:ser>
          <c:idx val="1"/>
          <c:order val="1"/>
          <c:tx>
            <c:strRef>
              <c:f>'fig 10'!$E$1</c:f>
              <c:strCache>
                <c:ptCount val="1"/>
                <c:pt idx="0">
                  <c:v>Midsize (51-250 employees)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fig 10'!$B$2:$B$15</c:f>
              <c:strCache>
                <c:ptCount val="14"/>
                <c:pt idx="0">
                  <c:v>Started to export</c:v>
                </c:pt>
                <c:pt idx="1">
                  <c:v>Secured new international customers</c:v>
                </c:pt>
                <c:pt idx="2">
                  <c:v>Contracted more domestic IT, logistics and other services in my country</c:v>
                </c:pt>
                <c:pt idx="3">
                  <c:v>Improved cash flow</c:v>
                </c:pt>
                <c:pt idx="4">
                  <c:v>Diversified products and services</c:v>
                </c:pt>
                <c:pt idx="5">
                  <c:v>Increased hiring</c:v>
                </c:pt>
                <c:pt idx="6">
                  <c:v>Increased in sales to existing clients, now online</c:v>
                </c:pt>
                <c:pt idx="7">
                  <c:v>Cut time on billing and invoicing</c:v>
                </c:pt>
                <c:pt idx="8">
                  <c:v>Started exporting to new markets</c:v>
                </c:pt>
                <c:pt idx="9">
                  <c:v>Cut operating costs</c:v>
                </c:pt>
                <c:pt idx="10">
                  <c:v>Increased revenue</c:v>
                </c:pt>
                <c:pt idx="11">
                  <c:v>Increased offline sales</c:v>
                </c:pt>
                <c:pt idx="12">
                  <c:v>Became more profitable</c:v>
                </c:pt>
                <c:pt idx="13">
                  <c:v>Secured new domestic customers</c:v>
                </c:pt>
              </c:strCache>
            </c:strRef>
          </c:cat>
          <c:val>
            <c:numRef>
              <c:f>'fig 10'!$E$2:$E$15</c:f>
              <c:numCache>
                <c:formatCode>0%</c:formatCode>
                <c:ptCount val="14"/>
                <c:pt idx="0">
                  <c:v>0.51</c:v>
                </c:pt>
                <c:pt idx="1">
                  <c:v>0.64</c:v>
                </c:pt>
                <c:pt idx="2">
                  <c:v>0.53</c:v>
                </c:pt>
                <c:pt idx="3">
                  <c:v>0.55000000000000004</c:v>
                </c:pt>
                <c:pt idx="4">
                  <c:v>0.48</c:v>
                </c:pt>
                <c:pt idx="5">
                  <c:v>0.6</c:v>
                </c:pt>
                <c:pt idx="6">
                  <c:v>0.56999999999999995</c:v>
                </c:pt>
                <c:pt idx="7">
                  <c:v>0.56000000000000005</c:v>
                </c:pt>
                <c:pt idx="8">
                  <c:v>0.68</c:v>
                </c:pt>
                <c:pt idx="9">
                  <c:v>0.62</c:v>
                </c:pt>
                <c:pt idx="10">
                  <c:v>0.64</c:v>
                </c:pt>
                <c:pt idx="11">
                  <c:v>0.64</c:v>
                </c:pt>
                <c:pt idx="12">
                  <c:v>0.72</c:v>
                </c:pt>
                <c:pt idx="13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B1-4D0C-BFBC-8819C7E837C6}"/>
            </c:ext>
          </c:extLst>
        </c:ser>
        <c:ser>
          <c:idx val="2"/>
          <c:order val="2"/>
          <c:tx>
            <c:strRef>
              <c:f>'fig 10'!$D$1</c:f>
              <c:strCache>
                <c:ptCount val="1"/>
                <c:pt idx="0">
                  <c:v>Small (11-50 employees)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fig 10'!$B$2:$B$15</c:f>
              <c:strCache>
                <c:ptCount val="14"/>
                <c:pt idx="0">
                  <c:v>Started to export</c:v>
                </c:pt>
                <c:pt idx="1">
                  <c:v>Secured new international customers</c:v>
                </c:pt>
                <c:pt idx="2">
                  <c:v>Contracted more domestic IT, logistics and other services in my country</c:v>
                </c:pt>
                <c:pt idx="3">
                  <c:v>Improved cash flow</c:v>
                </c:pt>
                <c:pt idx="4">
                  <c:v>Diversified products and services</c:v>
                </c:pt>
                <c:pt idx="5">
                  <c:v>Increased hiring</c:v>
                </c:pt>
                <c:pt idx="6">
                  <c:v>Increased in sales to existing clients, now online</c:v>
                </c:pt>
                <c:pt idx="7">
                  <c:v>Cut time on billing and invoicing</c:v>
                </c:pt>
                <c:pt idx="8">
                  <c:v>Started exporting to new markets</c:v>
                </c:pt>
                <c:pt idx="9">
                  <c:v>Cut operating costs</c:v>
                </c:pt>
                <c:pt idx="10">
                  <c:v>Increased revenue</c:v>
                </c:pt>
                <c:pt idx="11">
                  <c:v>Increased offline sales</c:v>
                </c:pt>
                <c:pt idx="12">
                  <c:v>Became more profitable</c:v>
                </c:pt>
                <c:pt idx="13">
                  <c:v>Secured new domestic customers</c:v>
                </c:pt>
              </c:strCache>
            </c:strRef>
          </c:cat>
          <c:val>
            <c:numRef>
              <c:f>'fig 10'!$D$2:$D$15</c:f>
              <c:numCache>
                <c:formatCode>0%</c:formatCode>
                <c:ptCount val="14"/>
                <c:pt idx="0">
                  <c:v>0.41</c:v>
                </c:pt>
                <c:pt idx="1">
                  <c:v>0.53</c:v>
                </c:pt>
                <c:pt idx="2">
                  <c:v>0.45</c:v>
                </c:pt>
                <c:pt idx="3">
                  <c:v>0.47</c:v>
                </c:pt>
                <c:pt idx="4">
                  <c:v>0.45</c:v>
                </c:pt>
                <c:pt idx="5">
                  <c:v>0.53</c:v>
                </c:pt>
                <c:pt idx="6">
                  <c:v>0.5</c:v>
                </c:pt>
                <c:pt idx="7">
                  <c:v>0.55000000000000004</c:v>
                </c:pt>
                <c:pt idx="8">
                  <c:v>0.68</c:v>
                </c:pt>
                <c:pt idx="9">
                  <c:v>0.56999999999999995</c:v>
                </c:pt>
                <c:pt idx="10">
                  <c:v>0.61</c:v>
                </c:pt>
                <c:pt idx="11">
                  <c:v>0.63</c:v>
                </c:pt>
                <c:pt idx="12">
                  <c:v>0.68</c:v>
                </c:pt>
                <c:pt idx="13">
                  <c:v>0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B1-4D0C-BFBC-8819C7E837C6}"/>
            </c:ext>
          </c:extLst>
        </c:ser>
        <c:ser>
          <c:idx val="3"/>
          <c:order val="3"/>
          <c:tx>
            <c:strRef>
              <c:f>'fig 10'!$C$1</c:f>
              <c:strCache>
                <c:ptCount val="1"/>
                <c:pt idx="0">
                  <c:v>Micro (0-10 employees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 10'!$B$2:$B$15</c:f>
              <c:strCache>
                <c:ptCount val="14"/>
                <c:pt idx="0">
                  <c:v>Started to export</c:v>
                </c:pt>
                <c:pt idx="1">
                  <c:v>Secured new international customers</c:v>
                </c:pt>
                <c:pt idx="2">
                  <c:v>Contracted more domestic IT, logistics and other services in my country</c:v>
                </c:pt>
                <c:pt idx="3">
                  <c:v>Improved cash flow</c:v>
                </c:pt>
                <c:pt idx="4">
                  <c:v>Diversified products and services</c:v>
                </c:pt>
                <c:pt idx="5">
                  <c:v>Increased hiring</c:v>
                </c:pt>
                <c:pt idx="6">
                  <c:v>Increased in sales to existing clients, now online</c:v>
                </c:pt>
                <c:pt idx="7">
                  <c:v>Cut time on billing and invoicing</c:v>
                </c:pt>
                <c:pt idx="8">
                  <c:v>Started exporting to new markets</c:v>
                </c:pt>
                <c:pt idx="9">
                  <c:v>Cut operating costs</c:v>
                </c:pt>
                <c:pt idx="10">
                  <c:v>Increased revenue</c:v>
                </c:pt>
                <c:pt idx="11">
                  <c:v>Increased offline sales</c:v>
                </c:pt>
                <c:pt idx="12">
                  <c:v>Became more profitable</c:v>
                </c:pt>
                <c:pt idx="13">
                  <c:v>Secured new domestic customers</c:v>
                </c:pt>
              </c:strCache>
            </c:strRef>
          </c:cat>
          <c:val>
            <c:numRef>
              <c:f>'fig 10'!$C$2:$C$15</c:f>
              <c:numCache>
                <c:formatCode>0%</c:formatCode>
                <c:ptCount val="14"/>
                <c:pt idx="0">
                  <c:v>0.2</c:v>
                </c:pt>
                <c:pt idx="1">
                  <c:v>0.31</c:v>
                </c:pt>
                <c:pt idx="2">
                  <c:v>0.32</c:v>
                </c:pt>
                <c:pt idx="3">
                  <c:v>0.36</c:v>
                </c:pt>
                <c:pt idx="4">
                  <c:v>0.38</c:v>
                </c:pt>
                <c:pt idx="5">
                  <c:v>0.43</c:v>
                </c:pt>
                <c:pt idx="6">
                  <c:v>0.43</c:v>
                </c:pt>
                <c:pt idx="7">
                  <c:v>0.44</c:v>
                </c:pt>
                <c:pt idx="8">
                  <c:v>0.45</c:v>
                </c:pt>
                <c:pt idx="9">
                  <c:v>0.5</c:v>
                </c:pt>
                <c:pt idx="10">
                  <c:v>0.52</c:v>
                </c:pt>
                <c:pt idx="11">
                  <c:v>0.54</c:v>
                </c:pt>
                <c:pt idx="12">
                  <c:v>0.56999999999999995</c:v>
                </c:pt>
                <c:pt idx="13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B1-4D0C-BFBC-8819C7E837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5180480"/>
        <c:axId val="55135552"/>
      </c:barChart>
      <c:catAx>
        <c:axId val="55180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35552"/>
        <c:crosses val="autoZero"/>
        <c:auto val="1"/>
        <c:lblAlgn val="ctr"/>
        <c:lblOffset val="100"/>
        <c:noMultiLvlLbl val="0"/>
      </c:catAx>
      <c:valAx>
        <c:axId val="5513555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80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>
          <a:solidFill>
            <a:sysClr val="windowText" lastClr="000000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Figures_By Growth'!$C$197</c:f>
              <c:strCache>
                <c:ptCount val="1"/>
                <c:pt idx="0">
                  <c:v>0%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Figures_By Growth'!$B$198:$B$199</c:f>
              <c:strCache>
                <c:ptCount val="2"/>
                <c:pt idx="0">
                  <c:v>&gt;5% growth</c:v>
                </c:pt>
                <c:pt idx="1">
                  <c:v>&lt;5% growth</c:v>
                </c:pt>
              </c:strCache>
            </c:strRef>
          </c:cat>
          <c:val>
            <c:numRef>
              <c:f>'Figures_By Growth'!$C$198:$C$199</c:f>
              <c:numCache>
                <c:formatCode>General</c:formatCode>
                <c:ptCount val="2"/>
                <c:pt idx="0">
                  <c:v>0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3E-490F-BC6E-2BF74BCA430A}"/>
            </c:ext>
          </c:extLst>
        </c:ser>
        <c:ser>
          <c:idx val="1"/>
          <c:order val="1"/>
          <c:tx>
            <c:strRef>
              <c:f>'Figures_By Growth'!$D$197</c:f>
              <c:strCache>
                <c:ptCount val="1"/>
                <c:pt idx="0">
                  <c:v>1-2%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'Figures_By Growth'!$B$198:$B$199</c:f>
              <c:strCache>
                <c:ptCount val="2"/>
                <c:pt idx="0">
                  <c:v>&gt;5% growth</c:v>
                </c:pt>
                <c:pt idx="1">
                  <c:v>&lt;5% growth</c:v>
                </c:pt>
              </c:strCache>
            </c:strRef>
          </c:cat>
          <c:val>
            <c:numRef>
              <c:f>'Figures_By Growth'!$D$198:$D$199</c:f>
              <c:numCache>
                <c:formatCode>General</c:formatCode>
                <c:ptCount val="2"/>
                <c:pt idx="0">
                  <c:v>17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3E-490F-BC6E-2BF74BCA430A}"/>
            </c:ext>
          </c:extLst>
        </c:ser>
        <c:ser>
          <c:idx val="2"/>
          <c:order val="2"/>
          <c:tx>
            <c:strRef>
              <c:f>'Figures_By Growth'!$E$197</c:f>
              <c:strCache>
                <c:ptCount val="1"/>
                <c:pt idx="0">
                  <c:v>3-5%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Figures_By Growth'!$B$198:$B$199</c:f>
              <c:strCache>
                <c:ptCount val="2"/>
                <c:pt idx="0">
                  <c:v>&gt;5% growth</c:v>
                </c:pt>
                <c:pt idx="1">
                  <c:v>&lt;5% growth</c:v>
                </c:pt>
              </c:strCache>
            </c:strRef>
          </c:cat>
          <c:val>
            <c:numRef>
              <c:f>'Figures_By Growth'!$E$198:$E$199</c:f>
              <c:numCache>
                <c:formatCode>General</c:formatCode>
                <c:ptCount val="2"/>
                <c:pt idx="0">
                  <c:v>41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33E-490F-BC6E-2BF74BCA430A}"/>
            </c:ext>
          </c:extLst>
        </c:ser>
        <c:ser>
          <c:idx val="3"/>
          <c:order val="3"/>
          <c:tx>
            <c:strRef>
              <c:f>'Figures_By Growth'!$F$197</c:f>
              <c:strCache>
                <c:ptCount val="1"/>
                <c:pt idx="0">
                  <c:v>6-10%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Figures_By Growth'!$B$198:$B$199</c:f>
              <c:strCache>
                <c:ptCount val="2"/>
                <c:pt idx="0">
                  <c:v>&gt;5% growth</c:v>
                </c:pt>
                <c:pt idx="1">
                  <c:v>&lt;5% growth</c:v>
                </c:pt>
              </c:strCache>
            </c:strRef>
          </c:cat>
          <c:val>
            <c:numRef>
              <c:f>'Figures_By Growth'!$F$198:$F$199</c:f>
              <c:numCache>
                <c:formatCode>General</c:formatCode>
                <c:ptCount val="2"/>
                <c:pt idx="0">
                  <c:v>40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33E-490F-BC6E-2BF74BCA430A}"/>
            </c:ext>
          </c:extLst>
        </c:ser>
        <c:ser>
          <c:idx val="4"/>
          <c:order val="4"/>
          <c:tx>
            <c:strRef>
              <c:f>'Figures_By Growth'!$G$197</c:f>
              <c:strCache>
                <c:ptCount val="1"/>
                <c:pt idx="0">
                  <c:v>&gt;10%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'Figures_By Growth'!$B$198:$B$199</c:f>
              <c:strCache>
                <c:ptCount val="2"/>
                <c:pt idx="0">
                  <c:v>&gt;5% growth</c:v>
                </c:pt>
                <c:pt idx="1">
                  <c:v>&lt;5% growth</c:v>
                </c:pt>
              </c:strCache>
            </c:strRef>
          </c:cat>
          <c:val>
            <c:numRef>
              <c:f>'Figures_By Growth'!$G$198:$G$199</c:f>
              <c:numCache>
                <c:formatCode>General</c:formatCode>
                <c:ptCount val="2"/>
                <c:pt idx="0">
                  <c:v>13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33E-490F-BC6E-2BF74BCA43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94253648"/>
        <c:axId val="1931179920"/>
      </c:barChart>
      <c:catAx>
        <c:axId val="1694253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931179920"/>
        <c:crosses val="autoZero"/>
        <c:auto val="1"/>
        <c:lblAlgn val="ctr"/>
        <c:lblOffset val="100"/>
        <c:noMultiLvlLbl val="0"/>
      </c:catAx>
      <c:valAx>
        <c:axId val="1931179920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6942536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465492676614725"/>
          <c:y val="3.4969201070152674E-2"/>
          <c:w val="0.46482933896811851"/>
          <c:h val="0.835160142420018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Figures_By Growth'!$B$112</c:f>
              <c:strCache>
                <c:ptCount val="1"/>
                <c:pt idx="0">
                  <c:v>&gt;5% growth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ures_By Growth'!$A$113:$A$121</c:f>
              <c:strCache>
                <c:ptCount val="9"/>
                <c:pt idx="0">
                  <c:v>We have not made investments to become more sustainable</c:v>
                </c:pt>
                <c:pt idx="1">
                  <c:v>Recycling initiative going beyond curent mandates</c:v>
                </c:pt>
                <c:pt idx="2">
                  <c:v>Elimination of waste through circular economy</c:v>
                </c:pt>
                <c:pt idx="3">
                  <c:v>Redesigning processes to make similar products with lessenvironmental impacts</c:v>
                </c:pt>
                <c:pt idx="4">
                  <c:v>Engineering innovation to improve sustainability of ourmaterials</c:v>
                </c:pt>
                <c:pt idx="5">
                  <c:v>Battery storage or other means of saving renewable energy</c:v>
                </c:pt>
                <c:pt idx="6">
                  <c:v>Renewable energy generation on-site (e.g. solar, wind, geothermal)</c:v>
                </c:pt>
                <c:pt idx="7">
                  <c:v>Purchase power agreements for renewable energy</c:v>
                </c:pt>
                <c:pt idx="8">
                  <c:v>Improved energy efficiency and management</c:v>
                </c:pt>
              </c:strCache>
            </c:strRef>
          </c:cat>
          <c:val>
            <c:numRef>
              <c:f>'Figures_By Growth'!$B$113:$B$121</c:f>
              <c:numCache>
                <c:formatCode>0%</c:formatCode>
                <c:ptCount val="9"/>
                <c:pt idx="0">
                  <c:v>4.5045045045045043E-2</c:v>
                </c:pt>
                <c:pt idx="1">
                  <c:v>0.27927927927927926</c:v>
                </c:pt>
                <c:pt idx="2">
                  <c:v>0.23423423423423423</c:v>
                </c:pt>
                <c:pt idx="3">
                  <c:v>0.26126126126126126</c:v>
                </c:pt>
                <c:pt idx="4">
                  <c:v>0.36936936936936937</c:v>
                </c:pt>
                <c:pt idx="5">
                  <c:v>0.31531531531531531</c:v>
                </c:pt>
                <c:pt idx="6">
                  <c:v>0.42342342342342343</c:v>
                </c:pt>
                <c:pt idx="7">
                  <c:v>0.32432432432432434</c:v>
                </c:pt>
                <c:pt idx="8">
                  <c:v>0.5495495495495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C8-43DC-BA78-9BCB581E5153}"/>
            </c:ext>
          </c:extLst>
        </c:ser>
        <c:ser>
          <c:idx val="1"/>
          <c:order val="1"/>
          <c:tx>
            <c:strRef>
              <c:f>'Figures_By Growth'!$C$112</c:f>
              <c:strCache>
                <c:ptCount val="1"/>
                <c:pt idx="0">
                  <c:v>&lt;5% growth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ures_By Growth'!$A$113:$A$121</c:f>
              <c:strCache>
                <c:ptCount val="9"/>
                <c:pt idx="0">
                  <c:v>We have not made investments to become more sustainable</c:v>
                </c:pt>
                <c:pt idx="1">
                  <c:v>Recycling initiative going beyond curent mandates</c:v>
                </c:pt>
                <c:pt idx="2">
                  <c:v>Elimination of waste through circular economy</c:v>
                </c:pt>
                <c:pt idx="3">
                  <c:v>Redesigning processes to make similar products with lessenvironmental impacts</c:v>
                </c:pt>
                <c:pt idx="4">
                  <c:v>Engineering innovation to improve sustainability of ourmaterials</c:v>
                </c:pt>
                <c:pt idx="5">
                  <c:v>Battery storage or other means of saving renewable energy</c:v>
                </c:pt>
                <c:pt idx="6">
                  <c:v>Renewable energy generation on-site (e.g. solar, wind, geothermal)</c:v>
                </c:pt>
                <c:pt idx="7">
                  <c:v>Purchase power agreements for renewable energy</c:v>
                </c:pt>
                <c:pt idx="8">
                  <c:v>Improved energy efficiency and management</c:v>
                </c:pt>
              </c:strCache>
            </c:strRef>
          </c:cat>
          <c:val>
            <c:numRef>
              <c:f>'Figures_By Growth'!$C$113:$C$121</c:f>
              <c:numCache>
                <c:formatCode>0%</c:formatCode>
                <c:ptCount val="9"/>
                <c:pt idx="0">
                  <c:v>9.4736842105263161E-2</c:v>
                </c:pt>
                <c:pt idx="1">
                  <c:v>0.10526315789473684</c:v>
                </c:pt>
                <c:pt idx="2">
                  <c:v>0.1368421052631579</c:v>
                </c:pt>
                <c:pt idx="3">
                  <c:v>0.18947368421052632</c:v>
                </c:pt>
                <c:pt idx="4">
                  <c:v>0.30526315789473685</c:v>
                </c:pt>
                <c:pt idx="5">
                  <c:v>0.31578947368421051</c:v>
                </c:pt>
                <c:pt idx="6">
                  <c:v>0.3473684210526316</c:v>
                </c:pt>
                <c:pt idx="7">
                  <c:v>0.37894736842105264</c:v>
                </c:pt>
                <c:pt idx="8">
                  <c:v>0.41052631578947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C8-43DC-BA78-9BCB581E51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30038847"/>
        <c:axId val="1820186528"/>
      </c:barChart>
      <c:catAx>
        <c:axId val="63003884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820186528"/>
        <c:crosses val="autoZero"/>
        <c:auto val="1"/>
        <c:lblAlgn val="ctr"/>
        <c:lblOffset val="100"/>
        <c:noMultiLvlLbl val="0"/>
      </c:catAx>
      <c:valAx>
        <c:axId val="1820186528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6300388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902826359132025"/>
          <c:y val="3.4667507091080997E-2"/>
          <c:w val="0.45271663924045491"/>
          <c:h val="0.8160369018224716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Figures_By Growth'!$J$10</c:f>
              <c:strCache>
                <c:ptCount val="1"/>
                <c:pt idx="0">
                  <c:v>We do not have thi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Figures_By Growth'!$H$11:$I$25</c:f>
              <c:multiLvlStrCache>
                <c:ptCount val="15"/>
                <c:lvl>
                  <c:pt idx="0">
                    <c:v>Company-wide net zero drive by 2035 or later</c:v>
                  </c:pt>
                  <c:pt idx="1">
                    <c:v>Heating / cooling facilities</c:v>
                  </c:pt>
                  <c:pt idx="2">
                    <c:v>Company-wide net zero drive by 2030</c:v>
                  </c:pt>
                  <c:pt idx="3">
                    <c:v>Logistics</c:v>
                  </c:pt>
                  <c:pt idx="4">
                    <c:v>Electricity use</c:v>
                  </c:pt>
                  <c:pt idx="5">
                    <c:v>Supply chains and suppliers</c:v>
                  </c:pt>
                  <c:pt idx="6">
                    <c:v>Data centers</c:v>
                  </c:pt>
                  <c:pt idx="8">
                    <c:v>Company-wide net zero drive by 2035 or later</c:v>
                  </c:pt>
                  <c:pt idx="9">
                    <c:v>Heating / cooling facilities</c:v>
                  </c:pt>
                  <c:pt idx="10">
                    <c:v>Data centers</c:v>
                  </c:pt>
                  <c:pt idx="11">
                    <c:v>Company-wide net zero drive by 2030</c:v>
                  </c:pt>
                  <c:pt idx="12">
                    <c:v>Logistics</c:v>
                  </c:pt>
                  <c:pt idx="13">
                    <c:v>Supply chains and suppliers</c:v>
                  </c:pt>
                  <c:pt idx="14">
                    <c:v>Electricity use</c:v>
                  </c:pt>
                </c:lvl>
                <c:lvl>
                  <c:pt idx="0">
                    <c:v>&gt;5% growth</c:v>
                  </c:pt>
                  <c:pt idx="8">
                    <c:v>&lt;5% growth</c:v>
                  </c:pt>
                </c:lvl>
              </c:multiLvlStrCache>
            </c:multiLvlStrRef>
          </c:cat>
          <c:val>
            <c:numRef>
              <c:f>'Figures_By Growth'!$J$11:$J$25</c:f>
              <c:numCache>
                <c:formatCode>0%</c:formatCode>
                <c:ptCount val="15"/>
                <c:pt idx="0">
                  <c:v>0.2072072072072072</c:v>
                </c:pt>
                <c:pt idx="1">
                  <c:v>0.1891891891891892</c:v>
                </c:pt>
                <c:pt idx="2">
                  <c:v>0.16216216216216217</c:v>
                </c:pt>
                <c:pt idx="3">
                  <c:v>7.2072072072072071E-2</c:v>
                </c:pt>
                <c:pt idx="4">
                  <c:v>7.2072072072072071E-2</c:v>
                </c:pt>
                <c:pt idx="5">
                  <c:v>8.1081081081081086E-2</c:v>
                </c:pt>
                <c:pt idx="6">
                  <c:v>8.1081081081081086E-2</c:v>
                </c:pt>
                <c:pt idx="8">
                  <c:v>0.33684210526315789</c:v>
                </c:pt>
                <c:pt idx="9">
                  <c:v>0.29473684210526313</c:v>
                </c:pt>
                <c:pt idx="10">
                  <c:v>0.23157894736842105</c:v>
                </c:pt>
                <c:pt idx="11">
                  <c:v>0.30526315789473685</c:v>
                </c:pt>
                <c:pt idx="12">
                  <c:v>0.22105263157894736</c:v>
                </c:pt>
                <c:pt idx="13">
                  <c:v>0.23157894736842105</c:v>
                </c:pt>
                <c:pt idx="14">
                  <c:v>0.14736842105263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9D-4A87-8D03-241879BB9757}"/>
            </c:ext>
          </c:extLst>
        </c:ser>
        <c:ser>
          <c:idx val="1"/>
          <c:order val="1"/>
          <c:tx>
            <c:strRef>
              <c:f>'Figures_By Growth'!$K$10</c:f>
              <c:strCache>
                <c:ptCount val="1"/>
                <c:pt idx="0">
                  <c:v>We have this aim but do not track progress 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Figures_By Growth'!$H$11:$I$25</c:f>
              <c:multiLvlStrCache>
                <c:ptCount val="15"/>
                <c:lvl>
                  <c:pt idx="0">
                    <c:v>Company-wide net zero drive by 2035 or later</c:v>
                  </c:pt>
                  <c:pt idx="1">
                    <c:v>Heating / cooling facilities</c:v>
                  </c:pt>
                  <c:pt idx="2">
                    <c:v>Company-wide net zero drive by 2030</c:v>
                  </c:pt>
                  <c:pt idx="3">
                    <c:v>Logistics</c:v>
                  </c:pt>
                  <c:pt idx="4">
                    <c:v>Electricity use</c:v>
                  </c:pt>
                  <c:pt idx="5">
                    <c:v>Supply chains and suppliers</c:v>
                  </c:pt>
                  <c:pt idx="6">
                    <c:v>Data centers</c:v>
                  </c:pt>
                  <c:pt idx="8">
                    <c:v>Company-wide net zero drive by 2035 or later</c:v>
                  </c:pt>
                  <c:pt idx="9">
                    <c:v>Heating / cooling facilities</c:v>
                  </c:pt>
                  <c:pt idx="10">
                    <c:v>Data centers</c:v>
                  </c:pt>
                  <c:pt idx="11">
                    <c:v>Company-wide net zero drive by 2030</c:v>
                  </c:pt>
                  <c:pt idx="12">
                    <c:v>Logistics</c:v>
                  </c:pt>
                  <c:pt idx="13">
                    <c:v>Supply chains and suppliers</c:v>
                  </c:pt>
                  <c:pt idx="14">
                    <c:v>Electricity use</c:v>
                  </c:pt>
                </c:lvl>
                <c:lvl>
                  <c:pt idx="0">
                    <c:v>&gt;5% growth</c:v>
                  </c:pt>
                  <c:pt idx="8">
                    <c:v>&lt;5% growth</c:v>
                  </c:pt>
                </c:lvl>
              </c:multiLvlStrCache>
            </c:multiLvlStrRef>
          </c:cat>
          <c:val>
            <c:numRef>
              <c:f>'Figures_By Growth'!$K$11:$K$25</c:f>
              <c:numCache>
                <c:formatCode>0%</c:formatCode>
                <c:ptCount val="15"/>
                <c:pt idx="0">
                  <c:v>0.27927927927927926</c:v>
                </c:pt>
                <c:pt idx="1">
                  <c:v>0.17117117117117117</c:v>
                </c:pt>
                <c:pt idx="2">
                  <c:v>0.11711711711711711</c:v>
                </c:pt>
                <c:pt idx="3">
                  <c:v>0.15315315315315314</c:v>
                </c:pt>
                <c:pt idx="4">
                  <c:v>0.13513513513513514</c:v>
                </c:pt>
                <c:pt idx="5">
                  <c:v>9.90990990990991E-2</c:v>
                </c:pt>
                <c:pt idx="6">
                  <c:v>8.1081081081081086E-2</c:v>
                </c:pt>
                <c:pt idx="8">
                  <c:v>0.2</c:v>
                </c:pt>
                <c:pt idx="9">
                  <c:v>0.17894736842105263</c:v>
                </c:pt>
                <c:pt idx="10">
                  <c:v>0.17894736842105263</c:v>
                </c:pt>
                <c:pt idx="11">
                  <c:v>9.4736842105263161E-2</c:v>
                </c:pt>
                <c:pt idx="12">
                  <c:v>0.15789473684210525</c:v>
                </c:pt>
                <c:pt idx="13">
                  <c:v>0.1368421052631579</c:v>
                </c:pt>
                <c:pt idx="14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9D-4A87-8D03-241879BB9757}"/>
            </c:ext>
          </c:extLst>
        </c:ser>
        <c:ser>
          <c:idx val="2"/>
          <c:order val="2"/>
          <c:tx>
            <c:strRef>
              <c:f>'Figures_By Growth'!$L$10</c:f>
              <c:strCache>
                <c:ptCount val="1"/>
                <c:pt idx="0">
                  <c:v>We have this and track progress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Figures_By Growth'!$H$11:$I$25</c:f>
              <c:multiLvlStrCache>
                <c:ptCount val="15"/>
                <c:lvl>
                  <c:pt idx="0">
                    <c:v>Company-wide net zero drive by 2035 or later</c:v>
                  </c:pt>
                  <c:pt idx="1">
                    <c:v>Heating / cooling facilities</c:v>
                  </c:pt>
                  <c:pt idx="2">
                    <c:v>Company-wide net zero drive by 2030</c:v>
                  </c:pt>
                  <c:pt idx="3">
                    <c:v>Logistics</c:v>
                  </c:pt>
                  <c:pt idx="4">
                    <c:v>Electricity use</c:v>
                  </c:pt>
                  <c:pt idx="5">
                    <c:v>Supply chains and suppliers</c:v>
                  </c:pt>
                  <c:pt idx="6">
                    <c:v>Data centers</c:v>
                  </c:pt>
                  <c:pt idx="8">
                    <c:v>Company-wide net zero drive by 2035 or later</c:v>
                  </c:pt>
                  <c:pt idx="9">
                    <c:v>Heating / cooling facilities</c:v>
                  </c:pt>
                  <c:pt idx="10">
                    <c:v>Data centers</c:v>
                  </c:pt>
                  <c:pt idx="11">
                    <c:v>Company-wide net zero drive by 2030</c:v>
                  </c:pt>
                  <c:pt idx="12">
                    <c:v>Logistics</c:v>
                  </c:pt>
                  <c:pt idx="13">
                    <c:v>Supply chains and suppliers</c:v>
                  </c:pt>
                  <c:pt idx="14">
                    <c:v>Electricity use</c:v>
                  </c:pt>
                </c:lvl>
                <c:lvl>
                  <c:pt idx="0">
                    <c:v>&gt;5% growth</c:v>
                  </c:pt>
                  <c:pt idx="8">
                    <c:v>&lt;5% growth</c:v>
                  </c:pt>
                </c:lvl>
              </c:multiLvlStrCache>
            </c:multiLvlStrRef>
          </c:cat>
          <c:val>
            <c:numRef>
              <c:f>'Figures_By Growth'!$L$11:$L$25</c:f>
              <c:numCache>
                <c:formatCode>0%</c:formatCode>
                <c:ptCount val="15"/>
                <c:pt idx="0">
                  <c:v>0.51351351351351349</c:v>
                </c:pt>
                <c:pt idx="1">
                  <c:v>0.63963963963963966</c:v>
                </c:pt>
                <c:pt idx="2">
                  <c:v>0.72072072072072069</c:v>
                </c:pt>
                <c:pt idx="3">
                  <c:v>0.77477477477477474</c:v>
                </c:pt>
                <c:pt idx="4">
                  <c:v>0.7927927927927928</c:v>
                </c:pt>
                <c:pt idx="5">
                  <c:v>0.81981981981981977</c:v>
                </c:pt>
                <c:pt idx="6">
                  <c:v>0.83783783783783783</c:v>
                </c:pt>
                <c:pt idx="8">
                  <c:v>0.4631578947368421</c:v>
                </c:pt>
                <c:pt idx="9">
                  <c:v>0.52631578947368418</c:v>
                </c:pt>
                <c:pt idx="10">
                  <c:v>0.58947368421052626</c:v>
                </c:pt>
                <c:pt idx="11">
                  <c:v>0.6</c:v>
                </c:pt>
                <c:pt idx="12">
                  <c:v>0.62105263157894741</c:v>
                </c:pt>
                <c:pt idx="13">
                  <c:v>0.63157894736842102</c:v>
                </c:pt>
                <c:pt idx="14">
                  <c:v>0.652631578947368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99D-4A87-8D03-241879BB97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46909392"/>
        <c:axId val="1146911120"/>
      </c:barChart>
      <c:catAx>
        <c:axId val="11469093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146911120"/>
        <c:crosses val="autoZero"/>
        <c:auto val="1"/>
        <c:lblAlgn val="ctr"/>
        <c:lblOffset val="100"/>
        <c:noMultiLvlLbl val="0"/>
      </c:catAx>
      <c:valAx>
        <c:axId val="1146911120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146909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1218717306315737E-2"/>
          <c:y val="0.90554973841241937"/>
          <c:w val="0.77233529266009582"/>
          <c:h val="9.39887716369379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095070671344349"/>
          <c:y val="3.8960868729761337E-2"/>
          <c:w val="0.46247514901044839"/>
          <c:h val="0.780925015248285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Figures_By Growth'!$B$139</c:f>
              <c:strCache>
                <c:ptCount val="1"/>
                <c:pt idx="0">
                  <c:v>&gt;5% growth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ures_By Growth'!$A$140:$A$143</c:f>
              <c:strCache>
                <c:ptCount val="4"/>
                <c:pt idx="0">
                  <c:v>Offsetting carbon emissions</c:v>
                </c:pt>
                <c:pt idx="1">
                  <c:v>Increasing the efficiency of activities using fossil fuels</c:v>
                </c:pt>
                <c:pt idx="2">
                  <c:v>Eliminating products or activities reliant on fossil fuel use</c:v>
                </c:pt>
                <c:pt idx="3">
                  <c:v>Replacing fossil fuel using activities with zero or low emissions alternatives</c:v>
                </c:pt>
              </c:strCache>
            </c:strRef>
          </c:cat>
          <c:val>
            <c:numRef>
              <c:f>'Figures_By Growth'!$B$140:$B$143</c:f>
              <c:numCache>
                <c:formatCode>0%</c:formatCode>
                <c:ptCount val="4"/>
                <c:pt idx="0">
                  <c:v>0.28828828828828829</c:v>
                </c:pt>
                <c:pt idx="1">
                  <c:v>0.33333333333333331</c:v>
                </c:pt>
                <c:pt idx="2">
                  <c:v>0.56756756756756754</c:v>
                </c:pt>
                <c:pt idx="3">
                  <c:v>0.57657657657657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50-4069-A715-6B74D73AF8E4}"/>
            </c:ext>
          </c:extLst>
        </c:ser>
        <c:ser>
          <c:idx val="1"/>
          <c:order val="1"/>
          <c:tx>
            <c:strRef>
              <c:f>'Figures_By Growth'!$C$139</c:f>
              <c:strCache>
                <c:ptCount val="1"/>
                <c:pt idx="0">
                  <c:v>&lt;5% growth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gures_By Growth'!$A$140:$A$143</c:f>
              <c:strCache>
                <c:ptCount val="4"/>
                <c:pt idx="0">
                  <c:v>Offsetting carbon emissions</c:v>
                </c:pt>
                <c:pt idx="1">
                  <c:v>Increasing the efficiency of activities using fossil fuels</c:v>
                </c:pt>
                <c:pt idx="2">
                  <c:v>Eliminating products or activities reliant on fossil fuel use</c:v>
                </c:pt>
                <c:pt idx="3">
                  <c:v>Replacing fossil fuel using activities with zero or low emissions alternatives</c:v>
                </c:pt>
              </c:strCache>
            </c:strRef>
          </c:cat>
          <c:val>
            <c:numRef>
              <c:f>'Figures_By Growth'!$C$140:$C$143</c:f>
              <c:numCache>
                <c:formatCode>0%</c:formatCode>
                <c:ptCount val="4"/>
                <c:pt idx="0">
                  <c:v>0.18947368421052632</c:v>
                </c:pt>
                <c:pt idx="1">
                  <c:v>0.3473684210526316</c:v>
                </c:pt>
                <c:pt idx="2">
                  <c:v>0.4</c:v>
                </c:pt>
                <c:pt idx="3">
                  <c:v>0.4631578947368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50-4069-A715-6B74D73AF8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96014112"/>
        <c:axId val="1957448480"/>
      </c:barChart>
      <c:catAx>
        <c:axId val="18960141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957448480"/>
        <c:crosses val="autoZero"/>
        <c:auto val="1"/>
        <c:lblAlgn val="ctr"/>
        <c:lblOffset val="100"/>
        <c:noMultiLvlLbl val="0"/>
      </c:catAx>
      <c:valAx>
        <c:axId val="1957448480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896014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025415453514082"/>
          <c:y val="3.3245100155326252E-2"/>
          <c:w val="0.46429977056321586"/>
          <c:h val="0.813064491448727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[EV 101923 Pollfish_Survey_AI_and_sustainability_survey_384016589 (1).xlsx]Figures_By Growth'!$C$80</c:f>
              <c:strCache>
                <c:ptCount val="1"/>
                <c:pt idx="0">
                  <c:v>&gt;5% growth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V 101923 Pollfish_Survey_AI_and_sustainability_survey_384016589 (1).xlsx]Figures_By Growth'!$B$81:$B$87</c:f>
              <c:strCache>
                <c:ptCount val="7"/>
                <c:pt idx="0">
                  <c:v>Companies we use to buy parts and components or products </c:v>
                </c:pt>
                <c:pt idx="1">
                  <c:v>We have not changed suppliers</c:v>
                </c:pt>
                <c:pt idx="2">
                  <c:v>Companies we buy services from</c:v>
                </c:pt>
                <c:pt idx="3">
                  <c:v>Data centers</c:v>
                </c:pt>
                <c:pt idx="4">
                  <c:v>Greener sources of electricity</c:v>
                </c:pt>
                <c:pt idx="5">
                  <c:v>New Logistics providers for international shipping</c:v>
                </c:pt>
                <c:pt idx="6">
                  <c:v>We changed to greener logistics providers for delivery</c:v>
                </c:pt>
              </c:strCache>
            </c:strRef>
          </c:cat>
          <c:val>
            <c:numRef>
              <c:f>'[EV 101923 Pollfish_Survey_AI_and_sustainability_survey_384016589 (1).xlsx]Figures_By Growth'!$C$81:$C$87</c:f>
              <c:numCache>
                <c:formatCode>0%</c:formatCode>
                <c:ptCount val="7"/>
                <c:pt idx="0">
                  <c:v>0.25225225225225223</c:v>
                </c:pt>
                <c:pt idx="1">
                  <c:v>0.16216216216216217</c:v>
                </c:pt>
                <c:pt idx="2">
                  <c:v>0.21621621621621623</c:v>
                </c:pt>
                <c:pt idx="3">
                  <c:v>0.2072072072072072</c:v>
                </c:pt>
                <c:pt idx="4">
                  <c:v>0.29729729729729731</c:v>
                </c:pt>
                <c:pt idx="5">
                  <c:v>0.28828828828828829</c:v>
                </c:pt>
                <c:pt idx="6">
                  <c:v>0.53153153153153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A9-483C-9682-C6CE66DD7B6B}"/>
            </c:ext>
          </c:extLst>
        </c:ser>
        <c:ser>
          <c:idx val="1"/>
          <c:order val="1"/>
          <c:tx>
            <c:strRef>
              <c:f>'[EV 101923 Pollfish_Survey_AI_and_sustainability_survey_384016589 (1).xlsx]Figures_By Growth'!$D$80</c:f>
              <c:strCache>
                <c:ptCount val="1"/>
                <c:pt idx="0">
                  <c:v>&lt;5% growth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Gill Sans MT" panose="020B050202010402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EV 101923 Pollfish_Survey_AI_and_sustainability_survey_384016589 (1).xlsx]Figures_By Growth'!$B$81:$B$87</c:f>
              <c:strCache>
                <c:ptCount val="7"/>
                <c:pt idx="0">
                  <c:v>Companies we use to buy parts and components or products </c:v>
                </c:pt>
                <c:pt idx="1">
                  <c:v>We have not changed suppliers</c:v>
                </c:pt>
                <c:pt idx="2">
                  <c:v>Companies we buy services from</c:v>
                </c:pt>
                <c:pt idx="3">
                  <c:v>Data centers</c:v>
                </c:pt>
                <c:pt idx="4">
                  <c:v>Greener sources of electricity</c:v>
                </c:pt>
                <c:pt idx="5">
                  <c:v>New Logistics providers for international shipping</c:v>
                </c:pt>
                <c:pt idx="6">
                  <c:v>We changed to greener logistics providers for delivery</c:v>
                </c:pt>
              </c:strCache>
            </c:strRef>
          </c:cat>
          <c:val>
            <c:numRef>
              <c:f>'[EV 101923 Pollfish_Survey_AI_and_sustainability_survey_384016589 (1).xlsx]Figures_By Growth'!$D$81:$D$87</c:f>
              <c:numCache>
                <c:formatCode>0%</c:formatCode>
                <c:ptCount val="7"/>
                <c:pt idx="0">
                  <c:v>0.14736842105263157</c:v>
                </c:pt>
                <c:pt idx="1">
                  <c:v>0.15789473684210525</c:v>
                </c:pt>
                <c:pt idx="2">
                  <c:v>0.17894736842105263</c:v>
                </c:pt>
                <c:pt idx="3">
                  <c:v>0.23157894736842105</c:v>
                </c:pt>
                <c:pt idx="4">
                  <c:v>0.25263157894736843</c:v>
                </c:pt>
                <c:pt idx="5">
                  <c:v>0.28421052631578947</c:v>
                </c:pt>
                <c:pt idx="6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A9-483C-9682-C6CE66DD7B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22196704"/>
        <c:axId val="1691763616"/>
      </c:barChart>
      <c:catAx>
        <c:axId val="1122196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691763616"/>
        <c:crosses val="autoZero"/>
        <c:auto val="1"/>
        <c:lblAlgn val="ctr"/>
        <c:lblOffset val="100"/>
        <c:noMultiLvlLbl val="0"/>
      </c:catAx>
      <c:valAx>
        <c:axId val="1691763616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Gill Sans MT" panose="020B0502020104020203" pitchFamily="34" charset="77"/>
                <a:ea typeface="+mn-ea"/>
                <a:cs typeface="+mn-cs"/>
              </a:defRPr>
            </a:pPr>
            <a:endParaRPr lang="en-US"/>
          </a:p>
        </c:txPr>
        <c:crossAx val="1122196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307486288207783"/>
          <c:y val="0.93249531248847306"/>
          <c:w val="0.40011691734759747"/>
          <c:h val="4.93709965177125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Gill Sans MT" panose="020B0502020104020203" pitchFamily="34" charset="77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solidFill>
            <a:schemeClr val="tx1"/>
          </a:solidFill>
          <a:latin typeface="Gill Sans MT" panose="020B0502020104020203" pitchFamily="34" charset="77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8B8B31-1CFE-4A78-A796-40061C1B298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F5D168-A009-4B34-B08F-277E0D6ABD9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D47A4C-1800-412B-9042-C93F1924AECC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0C826E-30C5-4DD2-97CD-F700F8EBBFC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1BE32A-EDDE-428D-8FA7-84F681D978C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81FD62-43B6-432F-96E1-BCDE3916E10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383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00EB3D-2307-4317-8A1D-B47FA45245F0}" type="datetimeFigureOut">
              <a:rPr lang="en-US" noProof="0" smtClean="0"/>
              <a:t>10/25/2023</a:t>
            </a:fld>
            <a:endParaRPr lang="en-US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D78A92-0141-4330-8F3E-FAADFAC23844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8887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View of a mountain range">
            <a:extLst>
              <a:ext uri="{FF2B5EF4-FFF2-40B4-BE49-F238E27FC236}">
                <a16:creationId xmlns:a16="http://schemas.microsoft.com/office/drawing/2014/main" id="{1DAC5403-E1D0-4032-A9FE-410B2982643C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46C517-01CF-4924-81A5-DAD4CE0BF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70000"/>
                </a:schemeClr>
              </a:gs>
              <a:gs pos="100000">
                <a:schemeClr val="accent3">
                  <a:alpha val="7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21" name="Text Placeholder 26">
            <a:extLst>
              <a:ext uri="{FF2B5EF4-FFF2-40B4-BE49-F238E27FC236}">
                <a16:creationId xmlns:a16="http://schemas.microsoft.com/office/drawing/2014/main" id="{E013E669-E15F-4096-81CC-6637C4A9F9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12235" y="1680191"/>
            <a:ext cx="4367531" cy="324417"/>
          </a:xfrm>
        </p:spPr>
        <p:txBody>
          <a:bodyPr>
            <a:noAutofit/>
          </a:bodyPr>
          <a:lstStyle>
            <a:lvl1pPr marL="0" indent="0" algn="ctr">
              <a:buNone/>
              <a:defRPr sz="2000" b="1" i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20XX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7021" y="2107415"/>
            <a:ext cx="10117959" cy="2281355"/>
          </a:xfrm>
        </p:spPr>
        <p:txBody>
          <a:bodyPr>
            <a:noAutofit/>
          </a:bodyPr>
          <a:lstStyle>
            <a:lvl1pPr algn="ctr">
              <a:defRPr sz="80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5BB088E3-63C1-423F-A939-150B8E1F87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12235" y="1333943"/>
            <a:ext cx="4367531" cy="324417"/>
          </a:xfrm>
        </p:spPr>
        <p:txBody>
          <a:bodyPr>
            <a:noAutofit/>
          </a:bodyPr>
          <a:lstStyle>
            <a:lvl1pPr marL="0" indent="0" algn="ctr">
              <a:buNone/>
              <a:defRPr sz="2300" b="0" i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Month</a:t>
            </a:r>
          </a:p>
        </p:txBody>
      </p:sp>
      <p:sp>
        <p:nvSpPr>
          <p:cNvPr id="36" name="Text Placeholder 14">
            <a:extLst>
              <a:ext uri="{FF2B5EF4-FFF2-40B4-BE49-F238E27FC236}">
                <a16:creationId xmlns:a16="http://schemas.microsoft.com/office/drawing/2014/main" id="{2A3D73F7-77EC-4576-B541-20C032F462D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050857" y="4720037"/>
            <a:ext cx="10090287" cy="1101897"/>
          </a:xfrm>
        </p:spPr>
        <p:txBody>
          <a:bodyPr>
            <a:noAutofit/>
          </a:bodyPr>
          <a:lstStyle>
            <a:lvl1pPr marL="0" indent="0" algn="ctr">
              <a:buNone/>
              <a:defRPr sz="3500" b="0" i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agli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91BBC0-FAFE-4A57-9925-6182B74C4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879848" y="4453465"/>
            <a:ext cx="2432304" cy="64008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66819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View of a lake and mountain range">
            <a:extLst>
              <a:ext uri="{FF2B5EF4-FFF2-40B4-BE49-F238E27FC236}">
                <a16:creationId xmlns:a16="http://schemas.microsoft.com/office/drawing/2014/main" id="{1DAC5403-E1D0-4032-A9FE-410B2982643C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46C517-01CF-4924-81A5-DAD4CE0BF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9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6" name="Text Placeholder 26">
            <a:extLst>
              <a:ext uri="{FF2B5EF4-FFF2-40B4-BE49-F238E27FC236}">
                <a16:creationId xmlns:a16="http://schemas.microsoft.com/office/drawing/2014/main" id="{82190F1B-1701-4806-870F-8FC7F32FE4A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12235" y="4222968"/>
            <a:ext cx="4367531" cy="474519"/>
          </a:xfrm>
        </p:spPr>
        <p:txBody>
          <a:bodyPr>
            <a:noAutofit/>
          </a:bodyPr>
          <a:lstStyle>
            <a:lvl1pPr marL="0" indent="0" algn="ctr">
              <a:buNone/>
              <a:defRPr sz="3500" b="0" i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+7 678-555-0128</a:t>
            </a:r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972B7F81-5409-42D9-B44C-88D9CBD9BA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12235" y="3927698"/>
            <a:ext cx="4367531" cy="288000"/>
          </a:xfrm>
        </p:spPr>
        <p:txBody>
          <a:bodyPr>
            <a:noAutofit/>
          </a:bodyPr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Phone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FAA54554-5CE2-43AD-979D-F095482C49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0857" y="2655074"/>
            <a:ext cx="10090287" cy="606659"/>
          </a:xfrm>
        </p:spPr>
        <p:txBody>
          <a:bodyPr>
            <a:noAutofit/>
          </a:bodyPr>
          <a:lstStyle>
            <a:lvl1pPr marL="0" indent="0" algn="ctr">
              <a:buNone/>
              <a:defRPr sz="3500" b="0" i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/>
              <a:t>Alexander Martensson</a:t>
            </a:r>
          </a:p>
        </p:txBody>
      </p:sp>
      <p:sp>
        <p:nvSpPr>
          <p:cNvPr id="20" name="Text Placeholder 26">
            <a:extLst>
              <a:ext uri="{FF2B5EF4-FFF2-40B4-BE49-F238E27FC236}">
                <a16:creationId xmlns:a16="http://schemas.microsoft.com/office/drawing/2014/main" id="{A1D8F0C1-128A-435B-8585-F0B32496EC7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35722" y="5230723"/>
            <a:ext cx="5920556" cy="474519"/>
          </a:xfrm>
        </p:spPr>
        <p:txBody>
          <a:bodyPr>
            <a:noAutofit/>
          </a:bodyPr>
          <a:lstStyle>
            <a:lvl1pPr marL="0" indent="0" algn="ctr">
              <a:buNone/>
              <a:defRPr sz="3500" b="0" i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martensson@example.com</a:t>
            </a:r>
          </a:p>
        </p:txBody>
      </p:sp>
      <p:sp>
        <p:nvSpPr>
          <p:cNvPr id="22" name="Text Placeholder 26">
            <a:extLst>
              <a:ext uri="{FF2B5EF4-FFF2-40B4-BE49-F238E27FC236}">
                <a16:creationId xmlns:a16="http://schemas.microsoft.com/office/drawing/2014/main" id="{90B48E8B-E525-4852-9167-5281C64B1C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12235" y="4929014"/>
            <a:ext cx="4367531" cy="288000"/>
          </a:xfrm>
        </p:spPr>
        <p:txBody>
          <a:bodyPr>
            <a:noAutofit/>
          </a:bodyPr>
          <a:lstStyle>
            <a:lvl1pPr marL="0" indent="0" algn="ctr">
              <a:buNone/>
              <a:defRPr sz="2000" b="0" i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Email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C5EB90F-1ADD-412B-9044-2CC607B78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0856" y="993494"/>
            <a:ext cx="10104124" cy="1517356"/>
          </a:xfrm>
        </p:spPr>
        <p:txBody>
          <a:bodyPr>
            <a:noAutofit/>
          </a:bodyPr>
          <a:lstStyle>
            <a:lvl1pPr algn="ctr">
              <a:defRPr sz="80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HANK YOU!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0A1271-E1E7-40AB-9552-9B4249544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156204" y="2421953"/>
            <a:ext cx="5879592" cy="64008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11783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View of a mountain range">
            <a:extLst>
              <a:ext uri="{FF2B5EF4-FFF2-40B4-BE49-F238E27FC236}">
                <a16:creationId xmlns:a16="http://schemas.microsoft.com/office/drawing/2014/main" id="{1DAC5403-E1D0-4032-A9FE-410B2982643C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46C517-01CF-4924-81A5-DAD4CE0BFA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70000"/>
                </a:schemeClr>
              </a:gs>
              <a:gs pos="100000">
                <a:schemeClr val="accent3">
                  <a:alpha val="7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9AD403-A15F-4A2F-B050-AB874136E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37021" y="2107415"/>
            <a:ext cx="10117959" cy="2281355"/>
          </a:xfrm>
        </p:spPr>
        <p:txBody>
          <a:bodyPr>
            <a:noAutofit/>
          </a:bodyPr>
          <a:lstStyle>
            <a:lvl1pPr algn="ctr">
              <a:defRPr sz="800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691BBC0-FAFE-4A57-9925-6182B74C4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879848" y="4453465"/>
            <a:ext cx="2432304" cy="64008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8214E67-DE9D-42F7-B713-798383BBD1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7021" y="4720036"/>
            <a:ext cx="10117959" cy="1101898"/>
          </a:xfrm>
        </p:spPr>
        <p:txBody>
          <a:bodyPr vert="horz" lIns="91440" tIns="45720" rIns="91440" bIns="45720" rtlCol="0">
            <a:noAutofit/>
          </a:bodyPr>
          <a:lstStyle>
            <a:lvl1pPr marL="0" indent="0" algn="ctr">
              <a:buNone/>
              <a:defRPr lang="en-US" sz="3500" b="0" i="0" dirty="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553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39" y="128016"/>
            <a:ext cx="11932919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026" y="1747488"/>
            <a:ext cx="442800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1B00995-C0FC-4EC6-A9B0-828FB28FC47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1A54DF2-9EE6-43F7-A586-88CA6C624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5114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39" y="128016"/>
            <a:ext cx="11932919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026" y="1747488"/>
            <a:ext cx="442800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1A54DF2-9EE6-43F7-A586-88CA6C624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22F4F2-F130-4DBE-B244-1D59BBE5CD9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D4CE5575-876A-4335-83ED-6B346DA1B4D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5035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39" y="128016"/>
            <a:ext cx="11932919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026" y="1747488"/>
            <a:ext cx="442800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1A54DF2-9EE6-43F7-A586-88CA6C6247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1F82F6E-10E8-4A58-9655-E18D14D790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840863"/>
            <a:ext cx="5157787" cy="664211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C2F6C18E-5BCB-42EF-9310-5BD6E011DF2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BA2923F-D123-40C6-A193-B86D683D5B5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840863"/>
            <a:ext cx="5183188" cy="6642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8305C175-94AC-44DD-9321-0A8DBDF22DA9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9988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39" y="128016"/>
            <a:ext cx="11932919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026" y="2105709"/>
            <a:ext cx="374904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C3E675-6E45-4A81-AEA3-D3638822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E4B599D-7641-40C1-8DAE-110A36403CF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177592"/>
            <a:ext cx="3932237" cy="369139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09FEF38-E3A7-4527-97CB-AF528BAEBA8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0012" y="457200"/>
            <a:ext cx="6172200" cy="540861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7947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39" y="128016"/>
            <a:ext cx="11932919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026" y="2105709"/>
            <a:ext cx="374904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C3E675-6E45-4A81-AEA3-D36388222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E4B599D-7641-40C1-8DAE-110A36403CF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177592"/>
            <a:ext cx="3932237" cy="369139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1B69B4CE-EB2F-46CF-9A80-64E44E5E95A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5403850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8307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9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3F74C5-9ADD-4AE3-BCA5-88726CC2A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2920" y="1667974"/>
            <a:ext cx="356616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B3756-19E0-4B2F-B1D5-7664E0B38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83200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9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63062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10C334-F1CE-4CEF-ADC6-D1BADB994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7629"/>
            <a:ext cx="10515600" cy="1325563"/>
          </a:xfrm>
        </p:spPr>
        <p:txBody>
          <a:bodyPr lIns="0" r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OW TO USE THIS TEMPLA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3F74C5-9ADD-4AE3-BCA5-88726CC2A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017776" y="1667974"/>
            <a:ext cx="8156448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10000CCD-6AFF-4E65-8858-5502306E58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578" y="1960171"/>
            <a:ext cx="882686" cy="10922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80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32" name="Text Placeholder 24">
            <a:extLst>
              <a:ext uri="{FF2B5EF4-FFF2-40B4-BE49-F238E27FC236}">
                <a16:creationId xmlns:a16="http://schemas.microsoft.com/office/drawing/2014/main" id="{D5D777E5-98F6-416A-8D23-3399269D85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42535" y="1984171"/>
            <a:ext cx="3103110" cy="10323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C979BADF-99B5-4C91-AAE5-FC2C4DBEDE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20642" y="1960171"/>
            <a:ext cx="882686" cy="10922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80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34" name="Text Placeholder 24">
            <a:extLst>
              <a:ext uri="{FF2B5EF4-FFF2-40B4-BE49-F238E27FC236}">
                <a16:creationId xmlns:a16="http://schemas.microsoft.com/office/drawing/2014/main" id="{6706F6A2-1599-4D73-9288-3ECEACDDCA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77939" y="1984171"/>
            <a:ext cx="2243918" cy="10323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BAE5E245-1702-4722-895D-0808BB0A86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906755" y="1977950"/>
            <a:ext cx="882686" cy="10922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80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3701E665-3CED-413C-BAC6-CE003B1494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64052" y="2001950"/>
            <a:ext cx="2959116" cy="10323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7" name="Text Placeholder 24">
            <a:extLst>
              <a:ext uri="{FF2B5EF4-FFF2-40B4-BE49-F238E27FC236}">
                <a16:creationId xmlns:a16="http://schemas.microsoft.com/office/drawing/2014/main" id="{E01406B4-D44B-4D1E-91F3-D87541EAD4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20059" y="3103993"/>
            <a:ext cx="1698625" cy="800100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8" name="Text Placeholder 24">
            <a:extLst>
              <a:ext uri="{FF2B5EF4-FFF2-40B4-BE49-F238E27FC236}">
                <a16:creationId xmlns:a16="http://schemas.microsoft.com/office/drawing/2014/main" id="{9AAD5CF9-9A59-4C5F-8C29-B92AD60121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718684" y="3103993"/>
            <a:ext cx="1698625" cy="800100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C6725172-65CC-4645-B23F-E77886468F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793" y="3103993"/>
            <a:ext cx="2599197" cy="800100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0" name="Text Placeholder 24">
            <a:extLst>
              <a:ext uri="{FF2B5EF4-FFF2-40B4-BE49-F238E27FC236}">
                <a16:creationId xmlns:a16="http://schemas.microsoft.com/office/drawing/2014/main" id="{0EA5E6CA-5C78-4B75-BA22-59750E7D45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876955" y="3102450"/>
            <a:ext cx="3726423" cy="800100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E1C61752-F57C-4FBF-93F3-06F43CCA4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57040" y="5751926"/>
            <a:ext cx="8877920" cy="470478"/>
          </a:xfrm>
        </p:spPr>
        <p:txBody>
          <a:bodyPr>
            <a:normAutofit/>
          </a:bodyPr>
          <a:lstStyle>
            <a:lvl1pPr marL="0" indent="0" algn="ctr">
              <a:buNone/>
              <a:defRPr sz="1600" b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2" name="Text Placeholder 24">
            <a:extLst>
              <a:ext uri="{FF2B5EF4-FFF2-40B4-BE49-F238E27FC236}">
                <a16:creationId xmlns:a16="http://schemas.microsoft.com/office/drawing/2014/main" id="{E0232175-FB97-4039-8136-B9DD27441C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4791" y="5070254"/>
            <a:ext cx="2599199" cy="800100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3" name="Text Placeholder 24">
            <a:extLst>
              <a:ext uri="{FF2B5EF4-FFF2-40B4-BE49-F238E27FC236}">
                <a16:creationId xmlns:a16="http://schemas.microsoft.com/office/drawing/2014/main" id="{6E5262C3-0603-403F-AB36-FB4EB9FC7BC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90713" y="5070254"/>
            <a:ext cx="3712665" cy="800100"/>
          </a:xfrm>
        </p:spPr>
        <p:txBody>
          <a:bodyPr>
            <a:normAutofit/>
          </a:bodyPr>
          <a:lstStyle>
            <a:lvl1pPr marL="0" indent="0">
              <a:buNone/>
              <a:defRPr sz="1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4" name="Picture Placeholder 12">
            <a:extLst>
              <a:ext uri="{FF2B5EF4-FFF2-40B4-BE49-F238E27FC236}">
                <a16:creationId xmlns:a16="http://schemas.microsoft.com/office/drawing/2014/main" id="{D2FBACFC-8B68-4A37-95A4-26BE5A23D759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1020058" y="3976866"/>
            <a:ext cx="3273552" cy="1618488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6" name="Picture Placeholder 12">
            <a:extLst>
              <a:ext uri="{FF2B5EF4-FFF2-40B4-BE49-F238E27FC236}">
                <a16:creationId xmlns:a16="http://schemas.microsoft.com/office/drawing/2014/main" id="{5A6A36C6-8489-4333-927A-141D8F98AE50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794792" y="4041034"/>
            <a:ext cx="2599199" cy="896112"/>
          </a:xfrm>
        </p:spPr>
        <p:txBody>
          <a:bodyPr anchor="ctr" anchorCtr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7" name="Picture Placeholder 9">
            <a:extLst>
              <a:ext uri="{FF2B5EF4-FFF2-40B4-BE49-F238E27FC236}">
                <a16:creationId xmlns:a16="http://schemas.microsoft.com/office/drawing/2014/main" id="{BB2DF986-C446-4302-9099-B1512AD5D8CA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876955" y="4041034"/>
            <a:ext cx="2599200" cy="896400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3890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E88C711-3D16-496B-BF96-001A0C0A3A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682374" y="6430061"/>
            <a:ext cx="241402" cy="197510"/>
          </a:xfrm>
          <a:prstGeom prst="rect">
            <a:avLst/>
          </a:prstGeom>
          <a:noFill/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3410712"/>
            <a:ext cx="11932920" cy="3319272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9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097552-E3A8-41F6-B00B-4A39A247A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981036"/>
            <a:ext cx="10515600" cy="78263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latin typeface="+mn-lt"/>
              </a:defRPr>
            </a:lvl1pPr>
          </a:lstStyle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0604" y="4804366"/>
            <a:ext cx="4050792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4F6DD4A-6071-4D11-ABDB-28EA5AC871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942478"/>
            <a:ext cx="10515600" cy="459082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US" sz="2300">
                <a:solidFill>
                  <a:schemeClr val="bg2"/>
                </a:solidFill>
              </a:defRPr>
            </a:lvl1pPr>
          </a:lstStyle>
          <a:p>
            <a:pPr marL="228600" lvl="0" indent="-228600" algn="ctr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34773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4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64109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80009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2053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001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1671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17525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15424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1380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9581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View of a lake with pine trees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685800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097552-E3A8-41F6-B00B-4A39A247A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248" y="1169256"/>
            <a:ext cx="5285914" cy="78263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EXT LAYOUT 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028AD4F5-2320-4533-9EC4-9832091E6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1248" y="2136036"/>
            <a:ext cx="5285914" cy="857098"/>
          </a:xfrm>
        </p:spPr>
        <p:txBody>
          <a:bodyPr>
            <a:normAutofit/>
          </a:bodyPr>
          <a:lstStyle>
            <a:lvl1pPr marL="0" indent="0" algn="l">
              <a:buNone/>
              <a:defRPr sz="2300">
                <a:solidFill>
                  <a:schemeClr val="bg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5026" y="1992586"/>
            <a:ext cx="442800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302F0820-F94A-40EF-B3BE-26CD0CB551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3100269"/>
            <a:ext cx="5288963" cy="2588637"/>
          </a:xfrm>
        </p:spPr>
        <p:txBody>
          <a:bodyPr lIns="0">
            <a:normAutofit/>
          </a:bodyPr>
          <a:lstStyle>
            <a:lvl1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13956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887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di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10C334-F1CE-4CEF-ADC6-D1BADB994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8873"/>
            <a:ext cx="10515600" cy="1325563"/>
          </a:xfrm>
        </p:spPr>
        <p:txBody>
          <a:bodyPr lIns="0" r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VIDEO SLID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6" name="Media Placeholder 7">
            <a:extLst>
              <a:ext uri="{FF2B5EF4-FFF2-40B4-BE49-F238E27FC236}">
                <a16:creationId xmlns:a16="http://schemas.microsoft.com/office/drawing/2014/main" id="{A11F77F4-4B16-4503-B9B6-AE22C686E3E3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1395984" y="1497770"/>
            <a:ext cx="9400032" cy="4215384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noProof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3698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A68FF-6007-A6E2-C752-19F563081A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0260C54-49DA-14DE-5DDF-0E7390AED9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A45138-4160-1AB9-4420-18FB64485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0DA811-4179-DF58-94A8-450C7834EE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52EC6E-2891-DDF8-EB73-07FACD49D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8202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7C4ABB-C2EB-BC76-115C-B579CEEB1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44B3D9-1201-9468-C1CA-E2B9CEBCD0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DB4333-D804-C44E-AD14-69CEB4EA7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130935-28D1-81F7-0F41-0F87FD7E5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293055-904A-A3C9-CADD-FD8C33CC6E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8770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75989-0CB8-450C-F312-E6A691B32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C8E262-F470-B01F-AB18-62E8C6B31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7B7AA7-12A7-2449-E45B-3D5B0279A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F501C0-8F45-8E8D-3055-49BB17A32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24378C-9571-A134-C8CC-728B8239B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2572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1C4602-1D6F-8F34-6359-C431FEB53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A30C33-1223-364F-E72F-53C1F45048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B59244-BA03-B859-0FBC-6982D9DEF9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345E58-22B9-BA50-BD87-68AEEAF07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7C491E-3360-DA82-CABC-4D67489DA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AE0BDE-FCF2-DA36-EF10-1BD9C7400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7303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48D0B-64D5-B083-751F-D549005AC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E3A023-2315-9B22-D22A-0996DB2483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B8A1F0-1E0F-7744-823F-9D40BB5F30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959B86-92DD-646F-FE03-1CBC702E9D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8D87A5-0E89-36CA-C0D5-004FA5DBA6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1A093F7-0F0C-BE8F-41D3-99B9B3EAA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8323A81-E2A1-BB0A-F32B-B2364DF1C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5E885B-0BF3-2692-D120-9F4EDC988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82560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7BDBD-95B6-92CE-8055-EAA1237C04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4B2541-6BF2-216F-83E2-F7657567A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A0A8EC-8AAF-0B63-7E95-F696BC5A9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7C285-5086-FBD5-4D5C-B4FAF73F9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32912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3B06FB-5609-5C30-3543-AF52EB22F7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A3B1980-36B2-113E-BFA1-D129B6518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46DC52-A2A1-7C10-F2C3-D08120B7D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2348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14F8F7-7F06-788D-F3A2-932456B89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5B4D76-3DCB-8346-5891-4A63CC9D71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B40828-0E0D-2DAC-E7D0-F20C7E85EAE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BF7C3F-96C3-55E8-F204-12A22056A7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B773A2-A1A8-C915-253C-5989D85B8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9029C1-9492-E8EA-D964-FBDB8E742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13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descr="Close up view of lake edge with mountain range background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3319272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097552-E3A8-41F6-B00B-4A39A247AA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248" y="1093460"/>
            <a:ext cx="5320386" cy="782638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EXT LAYOUT 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028AD4F5-2320-4533-9EC4-9832091E65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1248" y="2060240"/>
            <a:ext cx="5320386" cy="882524"/>
          </a:xfrm>
        </p:spPr>
        <p:txBody>
          <a:bodyPr>
            <a:normAutofit/>
          </a:bodyPr>
          <a:lstStyle>
            <a:lvl1pPr marL="0" indent="0" algn="l">
              <a:buNone/>
              <a:defRPr sz="2300">
                <a:solidFill>
                  <a:schemeClr val="bg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822F33-D675-4E6C-BD09-D9C78365BB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4693" y="1916790"/>
            <a:ext cx="4500000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4B6CBCCA-9781-462D-AF43-C6AAE3D1AA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17897" y="1125545"/>
            <a:ext cx="4707842" cy="1849304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1930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9F9E4-EABB-296F-E51A-18F1643EC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2A11E7-E80B-B2EB-72A7-39887F0A06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F484AE-3D11-6981-CA27-807A8E5B13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A0E861-D049-B902-EF2A-BCDF29C78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858C0-B884-9CF1-FE1E-78BCF1B36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16E73-4828-5A48-5BEA-7F44B7E20B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3569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31A9E-68B2-6D1B-2CD5-99550E757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162740F-AC29-6CCC-83EB-2CEF72D7A0C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F0297A-4937-D31B-F1D5-72C4ED15ED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8D0E1A-0E07-4044-F519-B6E53C9CB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09665-5D03-3BBA-5E94-86B9D535B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7428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F945377-F639-4F1D-3548-B4928A1F107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27DCBEB-DA73-8BD6-90F0-C13D1EC19B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6286C2-6B1B-4CD4-A152-D6B979F78E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9F01DF-D390-D7B7-BB10-5AB0B3EF3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261E2-4238-0123-82C1-DDC00D21D3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5295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g15b94a69027_0_112"/>
          <p:cNvSpPr txBox="1">
            <a:spLocks noGrp="1"/>
          </p:cNvSpPr>
          <p:nvPr>
            <p:ph type="ctrTitle"/>
          </p:nvPr>
        </p:nvSpPr>
        <p:spPr>
          <a:xfrm>
            <a:off x="581191" y="1020431"/>
            <a:ext cx="10993500" cy="147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Gill Sans"/>
              <a:buNone/>
              <a:defRPr sz="3600">
                <a:solidFill>
                  <a:schemeClr val="accen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g15b94a69027_0_112"/>
          <p:cNvSpPr txBox="1">
            <a:spLocks noGrp="1"/>
          </p:cNvSpPr>
          <p:nvPr>
            <p:ph type="subTitle" idx="1"/>
          </p:nvPr>
        </p:nvSpPr>
        <p:spPr>
          <a:xfrm>
            <a:off x="581195" y="2495445"/>
            <a:ext cx="10993500" cy="59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rmAutofit/>
          </a:bodyPr>
          <a:lstStyle>
            <a:lvl1pPr lvl="0" algn="l" rtl="0">
              <a:spcBef>
                <a:spcPts val="300"/>
              </a:spcBef>
              <a:spcAft>
                <a:spcPts val="0"/>
              </a:spcAft>
              <a:buSzPts val="1500"/>
              <a:buNone/>
              <a:defRPr sz="1600" cap="none">
                <a:solidFill>
                  <a:schemeClr val="accent2"/>
                </a:solidFill>
              </a:defRPr>
            </a:lvl1pPr>
            <a:lvl2pPr lvl="1" algn="ctr" rtl="0">
              <a:spcBef>
                <a:spcPts val="700"/>
              </a:spcBef>
              <a:spcAft>
                <a:spcPts val="0"/>
              </a:spcAft>
              <a:buSzPts val="1500"/>
              <a:buNone/>
              <a:defRPr>
                <a:solidFill>
                  <a:srgbClr val="888888"/>
                </a:solidFill>
              </a:defRPr>
            </a:lvl2pPr>
            <a:lvl3pPr lvl="2" algn="ctr" rtl="0">
              <a:spcBef>
                <a:spcPts val="700"/>
              </a:spcBef>
              <a:spcAft>
                <a:spcPts val="0"/>
              </a:spcAft>
              <a:buSzPts val="1300"/>
              <a:buNone/>
              <a:defRPr>
                <a:solidFill>
                  <a:srgbClr val="888888"/>
                </a:solidFill>
              </a:defRPr>
            </a:lvl3pPr>
            <a:lvl4pPr lvl="3" algn="ctr" rtl="0">
              <a:spcBef>
                <a:spcPts val="700"/>
              </a:spcBef>
              <a:spcAft>
                <a:spcPts val="0"/>
              </a:spcAft>
              <a:buSzPts val="1100"/>
              <a:buNone/>
              <a:defRPr>
                <a:solidFill>
                  <a:srgbClr val="888888"/>
                </a:solidFill>
              </a:defRPr>
            </a:lvl4pPr>
            <a:lvl5pPr lvl="4" algn="ctr" rtl="0">
              <a:spcBef>
                <a:spcPts val="700"/>
              </a:spcBef>
              <a:spcAft>
                <a:spcPts val="0"/>
              </a:spcAft>
              <a:buSzPts val="1100"/>
              <a:buNone/>
              <a:defRPr>
                <a:solidFill>
                  <a:srgbClr val="888888"/>
                </a:solidFill>
              </a:defRPr>
            </a:lvl5pPr>
            <a:lvl6pPr lvl="5" algn="ctr" rtl="0">
              <a:spcBef>
                <a:spcPts val="700"/>
              </a:spcBef>
              <a:spcAft>
                <a:spcPts val="0"/>
              </a:spcAft>
              <a:buSzPts val="1100"/>
              <a:buNone/>
              <a:defRPr>
                <a:solidFill>
                  <a:srgbClr val="888888"/>
                </a:solidFill>
              </a:defRPr>
            </a:lvl6pPr>
            <a:lvl7pPr lvl="6" algn="ctr" rtl="0">
              <a:spcBef>
                <a:spcPts val="700"/>
              </a:spcBef>
              <a:spcAft>
                <a:spcPts val="0"/>
              </a:spcAft>
              <a:buSzPts val="1100"/>
              <a:buNone/>
              <a:defRPr>
                <a:solidFill>
                  <a:srgbClr val="888888"/>
                </a:solidFill>
              </a:defRPr>
            </a:lvl7pPr>
            <a:lvl8pPr lvl="7" algn="ctr" rtl="0">
              <a:spcBef>
                <a:spcPts val="700"/>
              </a:spcBef>
              <a:spcAft>
                <a:spcPts val="0"/>
              </a:spcAft>
              <a:buSzPts val="1100"/>
              <a:buNone/>
              <a:defRPr>
                <a:solidFill>
                  <a:srgbClr val="888888"/>
                </a:solidFill>
              </a:defRPr>
            </a:lvl8pPr>
            <a:lvl9pPr lvl="8" algn="ctr" rtl="0">
              <a:spcBef>
                <a:spcPts val="700"/>
              </a:spcBef>
              <a:spcAft>
                <a:spcPts val="700"/>
              </a:spcAft>
              <a:buSzPts val="11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pic>
        <p:nvPicPr>
          <p:cNvPr id="112" name="Google Shape;112;g15b94a69027_0_112" descr="A picture containing star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-46520"/>
            <a:ext cx="12191999" cy="18276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42425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ction Header">
  <p:cSld name="1_Section Header">
    <p:bg>
      <p:bgPr>
        <a:solidFill>
          <a:srgbClr val="7BCBEC"/>
        </a:solidFill>
        <a:effectLst/>
      </p:bgPr>
    </p:bg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g15b94a69027_0_116"/>
          <p:cNvSpPr txBox="1">
            <a:spLocks noGrp="1"/>
          </p:cNvSpPr>
          <p:nvPr>
            <p:ph type="title"/>
          </p:nvPr>
        </p:nvSpPr>
        <p:spPr>
          <a:xfrm>
            <a:off x="831851" y="1709739"/>
            <a:ext cx="6039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Gill Sans"/>
              <a:buNone/>
              <a:defRPr sz="6000"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g15b94a69027_0_116"/>
          <p:cNvSpPr txBox="1">
            <a:spLocks noGrp="1"/>
          </p:cNvSpPr>
          <p:nvPr>
            <p:ph type="body" idx="1"/>
          </p:nvPr>
        </p:nvSpPr>
        <p:spPr>
          <a:xfrm>
            <a:off x="831851" y="4589463"/>
            <a:ext cx="6039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500"/>
              </a:spcBef>
              <a:spcAft>
                <a:spcPts val="0"/>
              </a:spcAft>
              <a:buSzPts val="2300"/>
              <a:buNone/>
              <a:defRPr sz="2400">
                <a:solidFill>
                  <a:schemeClr val="lt1"/>
                </a:solidFill>
              </a:defRPr>
            </a:lvl1pPr>
            <a:lvl2pPr marL="914377" lvl="1" indent="-228594" algn="l" rtl="0">
              <a:spcBef>
                <a:spcPts val="700"/>
              </a:spcBef>
              <a:spcAft>
                <a:spcPts val="0"/>
              </a:spcAft>
              <a:buSzPts val="1900"/>
              <a:buNone/>
              <a:defRPr sz="2000">
                <a:solidFill>
                  <a:srgbClr val="888888"/>
                </a:solidFill>
              </a:defRPr>
            </a:lvl2pPr>
            <a:lvl3pPr marL="1371566" lvl="2" indent="-228594" algn="l" rtl="0">
              <a:spcBef>
                <a:spcPts val="700"/>
              </a:spcBef>
              <a:spcAft>
                <a:spcPts val="0"/>
              </a:spcAft>
              <a:buSzPts val="1600"/>
              <a:buNone/>
              <a:defRPr sz="1900">
                <a:solidFill>
                  <a:srgbClr val="888888"/>
                </a:solidFill>
              </a:defRPr>
            </a:lvl3pPr>
            <a:lvl4pPr marL="1828754" lvl="3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4pPr>
            <a:lvl5pPr marL="2285943" lvl="4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5pPr>
            <a:lvl6pPr marL="2743131" lvl="5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6pPr>
            <a:lvl7pPr marL="3200320" lvl="6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7pPr>
            <a:lvl8pPr marL="3657509" lvl="7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8pPr>
            <a:lvl9pPr marL="4114697" lvl="8" indent="-228594" algn="l" rtl="0">
              <a:spcBef>
                <a:spcPts val="700"/>
              </a:spcBef>
              <a:spcAft>
                <a:spcPts val="70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16" name="Google Shape;116;g15b94a69027_0_116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17" name="Google Shape;117;g15b94a69027_0_116"/>
          <p:cNvSpPr txBox="1">
            <a:spLocks noGrp="1"/>
          </p:cNvSpPr>
          <p:nvPr>
            <p:ph type="body" idx="2"/>
          </p:nvPr>
        </p:nvSpPr>
        <p:spPr>
          <a:xfrm>
            <a:off x="7442923" y="1717451"/>
            <a:ext cx="5712900" cy="437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>
            <a:lvl1pPr marL="457189" lvl="0" indent="-228594" algn="l" rtl="0">
              <a:spcBef>
                <a:spcPts val="6400"/>
              </a:spcBef>
              <a:spcAft>
                <a:spcPts val="0"/>
              </a:spcAft>
              <a:buSzPts val="29500"/>
              <a:buNone/>
              <a:defRPr sz="32100"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39651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1_Title Only">
    <p:bg>
      <p:bgPr>
        <a:solidFill>
          <a:srgbClr val="7BCBEC"/>
        </a:solidFill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15b94a69027_0_121"/>
          <p:cNvSpPr txBox="1">
            <a:spLocks noGrp="1"/>
          </p:cNvSpPr>
          <p:nvPr>
            <p:ph type="title"/>
          </p:nvPr>
        </p:nvSpPr>
        <p:spPr>
          <a:xfrm>
            <a:off x="838200" y="365126"/>
            <a:ext cx="3657600" cy="10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ill Sans"/>
              <a:buNone/>
              <a:defRPr b="1"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g15b94a69027_0_121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121" name="Google Shape;121;g15b94a69027_0_121"/>
          <p:cNvSpPr txBox="1">
            <a:spLocks noGrp="1"/>
          </p:cNvSpPr>
          <p:nvPr>
            <p:ph type="body" idx="1"/>
          </p:nvPr>
        </p:nvSpPr>
        <p:spPr>
          <a:xfrm>
            <a:off x="5838095" y="969963"/>
            <a:ext cx="1323900" cy="9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>
            <a:lvl1pPr marL="457189" lvl="0" indent="-228594" algn="l" rtl="0">
              <a:spcBef>
                <a:spcPts val="1500"/>
              </a:spcBef>
              <a:spcAft>
                <a:spcPts val="0"/>
              </a:spcAft>
              <a:buSzPts val="6700"/>
              <a:buNone/>
              <a:defRPr sz="7200"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2" name="Google Shape;122;g15b94a69027_0_121"/>
          <p:cNvSpPr txBox="1">
            <a:spLocks noGrp="1"/>
          </p:cNvSpPr>
          <p:nvPr>
            <p:ph type="body" idx="2"/>
          </p:nvPr>
        </p:nvSpPr>
        <p:spPr>
          <a:xfrm>
            <a:off x="7420713" y="955699"/>
            <a:ext cx="44364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3" name="Google Shape;123;g15b94a69027_0_121"/>
          <p:cNvSpPr txBox="1">
            <a:spLocks noGrp="1"/>
          </p:cNvSpPr>
          <p:nvPr>
            <p:ph type="body" idx="3"/>
          </p:nvPr>
        </p:nvSpPr>
        <p:spPr>
          <a:xfrm>
            <a:off x="5838095" y="1939267"/>
            <a:ext cx="1323900" cy="9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>
            <a:lvl1pPr marL="457189" lvl="0" indent="-228594" algn="l" rtl="0">
              <a:spcBef>
                <a:spcPts val="1500"/>
              </a:spcBef>
              <a:spcAft>
                <a:spcPts val="0"/>
              </a:spcAft>
              <a:buSzPts val="6700"/>
              <a:buNone/>
              <a:defRPr sz="7200"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4" name="Google Shape;124;g15b94a69027_0_121"/>
          <p:cNvSpPr txBox="1">
            <a:spLocks noGrp="1"/>
          </p:cNvSpPr>
          <p:nvPr>
            <p:ph type="body" idx="4"/>
          </p:nvPr>
        </p:nvSpPr>
        <p:spPr>
          <a:xfrm>
            <a:off x="7420713" y="1925003"/>
            <a:ext cx="44364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5" name="Google Shape;125;g15b94a69027_0_121"/>
          <p:cNvSpPr txBox="1">
            <a:spLocks noGrp="1"/>
          </p:cNvSpPr>
          <p:nvPr>
            <p:ph type="body" idx="5"/>
          </p:nvPr>
        </p:nvSpPr>
        <p:spPr>
          <a:xfrm>
            <a:off x="5838095" y="2910795"/>
            <a:ext cx="1323900" cy="9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>
            <a:lvl1pPr marL="457189" lvl="0" indent="-228594" algn="l" rtl="0">
              <a:spcBef>
                <a:spcPts val="1500"/>
              </a:spcBef>
              <a:spcAft>
                <a:spcPts val="0"/>
              </a:spcAft>
              <a:buSzPts val="6700"/>
              <a:buNone/>
              <a:defRPr sz="7200"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6" name="Google Shape;126;g15b94a69027_0_121"/>
          <p:cNvSpPr txBox="1">
            <a:spLocks noGrp="1"/>
          </p:cNvSpPr>
          <p:nvPr>
            <p:ph type="body" idx="6"/>
          </p:nvPr>
        </p:nvSpPr>
        <p:spPr>
          <a:xfrm>
            <a:off x="7420713" y="2896531"/>
            <a:ext cx="44364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7" name="Google Shape;127;g15b94a69027_0_121"/>
          <p:cNvSpPr txBox="1">
            <a:spLocks noGrp="1"/>
          </p:cNvSpPr>
          <p:nvPr>
            <p:ph type="body" idx="7"/>
          </p:nvPr>
        </p:nvSpPr>
        <p:spPr>
          <a:xfrm>
            <a:off x="5838095" y="3888965"/>
            <a:ext cx="1323900" cy="9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>
            <a:lvl1pPr marL="457189" lvl="0" indent="-228594" algn="l" rtl="0">
              <a:spcBef>
                <a:spcPts val="1500"/>
              </a:spcBef>
              <a:spcAft>
                <a:spcPts val="0"/>
              </a:spcAft>
              <a:buSzPts val="6700"/>
              <a:buNone/>
              <a:defRPr sz="7200"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8" name="Google Shape;128;g15b94a69027_0_121"/>
          <p:cNvSpPr txBox="1">
            <a:spLocks noGrp="1"/>
          </p:cNvSpPr>
          <p:nvPr>
            <p:ph type="body" idx="8"/>
          </p:nvPr>
        </p:nvSpPr>
        <p:spPr>
          <a:xfrm>
            <a:off x="7420713" y="3874701"/>
            <a:ext cx="44364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29" name="Google Shape;129;g15b94a69027_0_121"/>
          <p:cNvSpPr txBox="1">
            <a:spLocks noGrp="1"/>
          </p:cNvSpPr>
          <p:nvPr>
            <p:ph type="body" idx="9"/>
          </p:nvPr>
        </p:nvSpPr>
        <p:spPr>
          <a:xfrm>
            <a:off x="5838095" y="4858205"/>
            <a:ext cx="1323900" cy="9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Autofit/>
          </a:bodyPr>
          <a:lstStyle>
            <a:lvl1pPr marL="457189" lvl="0" indent="-228594" algn="l" rtl="0">
              <a:spcBef>
                <a:spcPts val="1500"/>
              </a:spcBef>
              <a:spcAft>
                <a:spcPts val="0"/>
              </a:spcAft>
              <a:buSzPts val="6900"/>
              <a:buNone/>
              <a:defRPr sz="7500"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30" name="Google Shape;130;g15b94a69027_0_121"/>
          <p:cNvSpPr txBox="1">
            <a:spLocks noGrp="1"/>
          </p:cNvSpPr>
          <p:nvPr>
            <p:ph type="body" idx="13"/>
          </p:nvPr>
        </p:nvSpPr>
        <p:spPr>
          <a:xfrm>
            <a:off x="7420713" y="4843941"/>
            <a:ext cx="4436400" cy="95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542429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15b94a69027_0_134"/>
          <p:cNvSpPr/>
          <p:nvPr/>
        </p:nvSpPr>
        <p:spPr>
          <a:xfrm>
            <a:off x="440287" y="614407"/>
            <a:ext cx="11309700" cy="118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3" name="Google Shape;133;g15b94a69027_0_134"/>
          <p:cNvSpPr txBox="1">
            <a:spLocks noGrp="1"/>
          </p:cNvSpPr>
          <p:nvPr>
            <p:ph type="title"/>
          </p:nvPr>
        </p:nvSpPr>
        <p:spPr>
          <a:xfrm>
            <a:off x="581193" y="702157"/>
            <a:ext cx="11029500" cy="101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g15b94a69027_0_134"/>
          <p:cNvSpPr txBox="1">
            <a:spLocks noGrp="1"/>
          </p:cNvSpPr>
          <p:nvPr>
            <p:ph type="body" idx="1"/>
          </p:nvPr>
        </p:nvSpPr>
        <p:spPr>
          <a:xfrm>
            <a:off x="581193" y="2180497"/>
            <a:ext cx="11029500" cy="367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35" name="Google Shape;135;g15b94a69027_0_134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36" name="Google Shape;136;g15b94a69027_0_134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37" name="Google Shape;137;g15b94a69027_0_134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586912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g15b94a69027_0_141"/>
          <p:cNvSpPr txBox="1">
            <a:spLocks noGrp="1"/>
          </p:cNvSpPr>
          <p:nvPr>
            <p:ph type="title"/>
          </p:nvPr>
        </p:nvSpPr>
        <p:spPr>
          <a:xfrm>
            <a:off x="581194" y="3043911"/>
            <a:ext cx="11029500" cy="14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Gill Sans"/>
              <a:buNone/>
              <a:defRPr sz="3600" b="0" cap="none">
                <a:solidFill>
                  <a:schemeClr val="accen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g15b94a69027_0_141"/>
          <p:cNvSpPr txBox="1">
            <a:spLocks noGrp="1"/>
          </p:cNvSpPr>
          <p:nvPr>
            <p:ph type="body" idx="1"/>
          </p:nvPr>
        </p:nvSpPr>
        <p:spPr>
          <a:xfrm>
            <a:off x="581193" y="4541418"/>
            <a:ext cx="11029500" cy="600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rm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1600"/>
              <a:buNone/>
              <a:defRPr sz="1900" cap="none">
                <a:solidFill>
                  <a:schemeClr val="accent2"/>
                </a:solidFill>
              </a:defRPr>
            </a:lvl1pPr>
            <a:lvl2pPr marL="914377" lvl="1" indent="-228594" algn="l" rtl="0">
              <a:spcBef>
                <a:spcPts val="700"/>
              </a:spcBef>
              <a:spcAft>
                <a:spcPts val="0"/>
              </a:spcAft>
              <a:buSzPts val="1600"/>
              <a:buNone/>
              <a:defRPr sz="1900">
                <a:solidFill>
                  <a:srgbClr val="888888"/>
                </a:solidFill>
              </a:defRPr>
            </a:lvl2pPr>
            <a:lvl3pPr marL="1371566" lvl="2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>
                <a:solidFill>
                  <a:srgbClr val="888888"/>
                </a:solidFill>
              </a:defRPr>
            </a:lvl3pPr>
            <a:lvl4pPr marL="1828754" lvl="3" indent="-228594" algn="l" rtl="0">
              <a:spcBef>
                <a:spcPts val="700"/>
              </a:spcBef>
              <a:spcAft>
                <a:spcPts val="0"/>
              </a:spcAft>
              <a:buSzPts val="1300"/>
              <a:buNone/>
              <a:defRPr sz="1500">
                <a:solidFill>
                  <a:srgbClr val="888888"/>
                </a:solidFill>
              </a:defRPr>
            </a:lvl4pPr>
            <a:lvl5pPr marL="2285943" lvl="4" indent="-228594" algn="l" rtl="0">
              <a:spcBef>
                <a:spcPts val="700"/>
              </a:spcBef>
              <a:spcAft>
                <a:spcPts val="0"/>
              </a:spcAft>
              <a:buSzPts val="1300"/>
              <a:buNone/>
              <a:defRPr sz="1500">
                <a:solidFill>
                  <a:srgbClr val="888888"/>
                </a:solidFill>
              </a:defRPr>
            </a:lvl5pPr>
            <a:lvl6pPr marL="2743131" lvl="5" indent="-228594" algn="l" rtl="0">
              <a:spcBef>
                <a:spcPts val="700"/>
              </a:spcBef>
              <a:spcAft>
                <a:spcPts val="0"/>
              </a:spcAft>
              <a:buSzPts val="1300"/>
              <a:buNone/>
              <a:defRPr sz="1500">
                <a:solidFill>
                  <a:srgbClr val="888888"/>
                </a:solidFill>
              </a:defRPr>
            </a:lvl6pPr>
            <a:lvl7pPr marL="3200320" lvl="6" indent="-228594" algn="l" rtl="0">
              <a:spcBef>
                <a:spcPts val="700"/>
              </a:spcBef>
              <a:spcAft>
                <a:spcPts val="0"/>
              </a:spcAft>
              <a:buSzPts val="1300"/>
              <a:buNone/>
              <a:defRPr sz="1500">
                <a:solidFill>
                  <a:srgbClr val="888888"/>
                </a:solidFill>
              </a:defRPr>
            </a:lvl7pPr>
            <a:lvl8pPr marL="3657509" lvl="7" indent="-228594" algn="l" rtl="0">
              <a:spcBef>
                <a:spcPts val="700"/>
              </a:spcBef>
              <a:spcAft>
                <a:spcPts val="0"/>
              </a:spcAft>
              <a:buSzPts val="1300"/>
              <a:buNone/>
              <a:defRPr sz="1500">
                <a:solidFill>
                  <a:srgbClr val="888888"/>
                </a:solidFill>
              </a:defRPr>
            </a:lvl8pPr>
            <a:lvl9pPr marL="4114697" lvl="8" indent="-228594" algn="l" rtl="0">
              <a:spcBef>
                <a:spcPts val="700"/>
              </a:spcBef>
              <a:spcAft>
                <a:spcPts val="700"/>
              </a:spcAft>
              <a:buSzPts val="1300"/>
              <a:buNone/>
              <a:defRPr sz="15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41" name="Google Shape;141;g15b94a69027_0_141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42" name="Google Shape;142;g15b94a69027_0_141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43" name="Google Shape;143;g15b94a69027_0_141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1545523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g15b94a69027_0_147"/>
          <p:cNvSpPr/>
          <p:nvPr/>
        </p:nvSpPr>
        <p:spPr>
          <a:xfrm>
            <a:off x="445983" y="606555"/>
            <a:ext cx="11300100" cy="125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6" name="Google Shape;146;g15b94a69027_0_147"/>
          <p:cNvSpPr txBox="1">
            <a:spLocks noGrp="1"/>
          </p:cNvSpPr>
          <p:nvPr>
            <p:ph type="title"/>
          </p:nvPr>
        </p:nvSpPr>
        <p:spPr>
          <a:xfrm>
            <a:off x="581194" y="729659"/>
            <a:ext cx="11029500" cy="9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g15b94a69027_0_147"/>
          <p:cNvSpPr txBox="1">
            <a:spLocks noGrp="1"/>
          </p:cNvSpPr>
          <p:nvPr>
            <p:ph type="body" idx="1"/>
          </p:nvPr>
        </p:nvSpPr>
        <p:spPr>
          <a:xfrm>
            <a:off x="581194" y="2228003"/>
            <a:ext cx="5422500" cy="363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48" name="Google Shape;148;g15b94a69027_0_147"/>
          <p:cNvSpPr txBox="1">
            <a:spLocks noGrp="1"/>
          </p:cNvSpPr>
          <p:nvPr>
            <p:ph type="body" idx="2"/>
          </p:nvPr>
        </p:nvSpPr>
        <p:spPr>
          <a:xfrm>
            <a:off x="6188418" y="2228003"/>
            <a:ext cx="5422500" cy="3633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49" name="Google Shape;149;g15b94a69027_0_147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50" name="Google Shape;150;g15b94a69027_0_147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51" name="Google Shape;151;g15b94a69027_0_147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816332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Google Shape;153;g15b94a69027_0_155"/>
          <p:cNvSpPr/>
          <p:nvPr/>
        </p:nvSpPr>
        <p:spPr>
          <a:xfrm>
            <a:off x="445983" y="606555"/>
            <a:ext cx="11300100" cy="1258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4" name="Google Shape;154;g15b94a69027_0_155"/>
          <p:cNvSpPr txBox="1">
            <a:spLocks noGrp="1"/>
          </p:cNvSpPr>
          <p:nvPr>
            <p:ph type="title"/>
          </p:nvPr>
        </p:nvSpPr>
        <p:spPr>
          <a:xfrm>
            <a:off x="581194" y="729659"/>
            <a:ext cx="11029500" cy="98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55" name="Google Shape;155;g15b94a69027_0_155"/>
          <p:cNvSpPr txBox="1">
            <a:spLocks noGrp="1"/>
          </p:cNvSpPr>
          <p:nvPr>
            <p:ph type="body" idx="1"/>
          </p:nvPr>
        </p:nvSpPr>
        <p:spPr>
          <a:xfrm>
            <a:off x="887219" y="2250893"/>
            <a:ext cx="5087100" cy="53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2000"/>
              <a:buNone/>
              <a:defRPr sz="2300" b="0">
                <a:solidFill>
                  <a:schemeClr val="accent2"/>
                </a:solidFill>
              </a:defRPr>
            </a:lvl1pPr>
            <a:lvl2pPr marL="914377" lvl="1" indent="-228594" algn="l" rtl="0">
              <a:spcBef>
                <a:spcPts val="700"/>
              </a:spcBef>
              <a:spcAft>
                <a:spcPts val="0"/>
              </a:spcAft>
              <a:buSzPts val="1900"/>
              <a:buNone/>
              <a:defRPr sz="2000" b="1"/>
            </a:lvl2pPr>
            <a:lvl3pPr marL="1371566" lvl="2" indent="-228594" algn="l" rtl="0">
              <a:spcBef>
                <a:spcPts val="700"/>
              </a:spcBef>
              <a:spcAft>
                <a:spcPts val="0"/>
              </a:spcAft>
              <a:buSzPts val="1600"/>
              <a:buNone/>
              <a:defRPr sz="1900" b="1"/>
            </a:lvl3pPr>
            <a:lvl4pPr marL="1828754" lvl="3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4pPr>
            <a:lvl5pPr marL="2285943" lvl="4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5pPr>
            <a:lvl6pPr marL="2743131" lvl="5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6pPr>
            <a:lvl7pPr marL="3200320" lvl="6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7pPr>
            <a:lvl8pPr marL="3657509" lvl="7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8pPr>
            <a:lvl9pPr marL="4114697" lvl="8" indent="-228594" algn="l" rtl="0">
              <a:spcBef>
                <a:spcPts val="700"/>
              </a:spcBef>
              <a:spcAft>
                <a:spcPts val="700"/>
              </a:spcAft>
              <a:buSzPts val="1500"/>
              <a:buNone/>
              <a:defRPr sz="1600" b="1"/>
            </a:lvl9pPr>
          </a:lstStyle>
          <a:p>
            <a:endParaRPr/>
          </a:p>
        </p:txBody>
      </p:sp>
      <p:sp>
        <p:nvSpPr>
          <p:cNvPr id="156" name="Google Shape;156;g15b94a69027_0_155"/>
          <p:cNvSpPr txBox="1">
            <a:spLocks noGrp="1"/>
          </p:cNvSpPr>
          <p:nvPr>
            <p:ph type="body" idx="2"/>
          </p:nvPr>
        </p:nvSpPr>
        <p:spPr>
          <a:xfrm>
            <a:off x="581195" y="2926053"/>
            <a:ext cx="5393100" cy="29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57" name="Google Shape;157;g15b94a69027_0_155"/>
          <p:cNvSpPr txBox="1">
            <a:spLocks noGrp="1"/>
          </p:cNvSpPr>
          <p:nvPr>
            <p:ph type="body" idx="3"/>
          </p:nvPr>
        </p:nvSpPr>
        <p:spPr>
          <a:xfrm>
            <a:off x="6523735" y="2250893"/>
            <a:ext cx="5087100" cy="5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Autofit/>
          </a:bodyPr>
          <a:lstStyle>
            <a:lvl1pPr marL="457189" lvl="0" indent="-228594" algn="l" rtl="0">
              <a:spcBef>
                <a:spcPts val="400"/>
              </a:spcBef>
              <a:spcAft>
                <a:spcPts val="0"/>
              </a:spcAft>
              <a:buSzPts val="2000"/>
              <a:buNone/>
              <a:defRPr sz="2300" b="0">
                <a:solidFill>
                  <a:schemeClr val="accent2"/>
                </a:solidFill>
              </a:defRPr>
            </a:lvl1pPr>
            <a:lvl2pPr marL="914377" lvl="1" indent="-228594" algn="l" rtl="0">
              <a:spcBef>
                <a:spcPts val="700"/>
              </a:spcBef>
              <a:spcAft>
                <a:spcPts val="0"/>
              </a:spcAft>
              <a:buSzPts val="1900"/>
              <a:buNone/>
              <a:defRPr sz="2000" b="1"/>
            </a:lvl2pPr>
            <a:lvl3pPr marL="1371566" lvl="2" indent="-228594" algn="l" rtl="0">
              <a:spcBef>
                <a:spcPts val="700"/>
              </a:spcBef>
              <a:spcAft>
                <a:spcPts val="0"/>
              </a:spcAft>
              <a:buSzPts val="1600"/>
              <a:buNone/>
              <a:defRPr sz="1900" b="1"/>
            </a:lvl3pPr>
            <a:lvl4pPr marL="1828754" lvl="3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4pPr>
            <a:lvl5pPr marL="2285943" lvl="4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5pPr>
            <a:lvl6pPr marL="2743131" lvl="5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6pPr>
            <a:lvl7pPr marL="3200320" lvl="6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7pPr>
            <a:lvl8pPr marL="3657509" lvl="7" indent="-228594" algn="l" rtl="0">
              <a:spcBef>
                <a:spcPts val="700"/>
              </a:spcBef>
              <a:spcAft>
                <a:spcPts val="0"/>
              </a:spcAft>
              <a:buSzPts val="1500"/>
              <a:buNone/>
              <a:defRPr sz="1600" b="1"/>
            </a:lvl8pPr>
            <a:lvl9pPr marL="4114697" lvl="8" indent="-228594" algn="l" rtl="0">
              <a:spcBef>
                <a:spcPts val="700"/>
              </a:spcBef>
              <a:spcAft>
                <a:spcPts val="700"/>
              </a:spcAft>
              <a:buSzPts val="1500"/>
              <a:buNone/>
              <a:defRPr sz="1600" b="1"/>
            </a:lvl9pPr>
          </a:lstStyle>
          <a:p>
            <a:endParaRPr/>
          </a:p>
        </p:txBody>
      </p:sp>
      <p:sp>
        <p:nvSpPr>
          <p:cNvPr id="158" name="Google Shape;158;g15b94a69027_0_155"/>
          <p:cNvSpPr txBox="1">
            <a:spLocks noGrp="1"/>
          </p:cNvSpPr>
          <p:nvPr>
            <p:ph type="body" idx="4"/>
          </p:nvPr>
        </p:nvSpPr>
        <p:spPr>
          <a:xfrm>
            <a:off x="6217710" y="2926053"/>
            <a:ext cx="5393100" cy="293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59" name="Google Shape;159;g15b94a69027_0_155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60" name="Google Shape;160;g15b94a69027_0_155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61" name="Google Shape;161;g15b94a69027_0_155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228754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99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3373955-AB5B-4186-8098-9DBA0AB2650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9649" y="2738211"/>
            <a:ext cx="4183650" cy="454353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ection 1 title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B534F865-65DF-4129-9CE5-414E249375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1" y="1835244"/>
            <a:ext cx="10515599" cy="629105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300" b="0" i="0">
                <a:solidFill>
                  <a:schemeClr val="bg2"/>
                </a:solidFill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3A3472E-32B4-4CAD-B5D0-420AA3FB4CE3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627121" y="2738211"/>
            <a:ext cx="4183650" cy="454353"/>
          </a:xfr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ection 2 title</a:t>
            </a:r>
          </a:p>
        </p:txBody>
      </p:sp>
      <p:sp>
        <p:nvSpPr>
          <p:cNvPr id="11" name="Text Placeholder 26">
            <a:extLst>
              <a:ext uri="{FF2B5EF4-FFF2-40B4-BE49-F238E27FC236}">
                <a16:creationId xmlns:a16="http://schemas.microsoft.com/office/drawing/2014/main" id="{1AEED068-3EA0-4BF4-875C-02473E9EB0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59649" y="3428501"/>
            <a:ext cx="4365625" cy="2333625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bg2"/>
              </a:buCl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26">
            <a:extLst>
              <a:ext uri="{FF2B5EF4-FFF2-40B4-BE49-F238E27FC236}">
                <a16:creationId xmlns:a16="http://schemas.microsoft.com/office/drawing/2014/main" id="{3590B9DA-A2DF-4AE1-9A98-C7B84F48C3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27121" y="3428501"/>
            <a:ext cx="4365625" cy="2333625"/>
          </a:xfrm>
        </p:spPr>
        <p:txBody>
          <a:bodyPr>
            <a:normAutofit/>
          </a:bodyPr>
          <a:lstStyle>
            <a:lvl1pPr marL="180000" indent="-180000">
              <a:spcBef>
                <a:spcPts val="600"/>
              </a:spcBef>
              <a:buClr>
                <a:schemeClr val="bg2"/>
              </a:buClr>
              <a:defRPr sz="1600">
                <a:solidFill>
                  <a:schemeClr val="bg1"/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10C334-F1CE-4CEF-ADC6-D1BADB994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7629"/>
            <a:ext cx="10515600" cy="1325563"/>
          </a:xfrm>
        </p:spPr>
        <p:txBody>
          <a:bodyPr lIns="0" r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OMPARISON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3F74C5-9ADD-4AE3-BCA5-88726CC2A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111752" y="1667974"/>
            <a:ext cx="3968496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03723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15b94a69027_0_171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70" name="Google Shape;170;g15b94a69027_0_171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71" name="Google Shape;171;g15b94a69027_0_171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7513652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g15b94a69027_0_175"/>
          <p:cNvSpPr txBox="1">
            <a:spLocks noGrp="1"/>
          </p:cNvSpPr>
          <p:nvPr>
            <p:ph type="title"/>
          </p:nvPr>
        </p:nvSpPr>
        <p:spPr>
          <a:xfrm>
            <a:off x="581194" y="4693390"/>
            <a:ext cx="11029500" cy="56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Gill Sans"/>
              <a:buNone/>
              <a:defRPr sz="2400" b="0">
                <a:solidFill>
                  <a:schemeClr val="accen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74" name="Google Shape;174;g15b94a69027_0_175"/>
          <p:cNvSpPr>
            <a:spLocks noGrp="1"/>
          </p:cNvSpPr>
          <p:nvPr>
            <p:ph type="pic" idx="2"/>
          </p:nvPr>
        </p:nvSpPr>
        <p:spPr>
          <a:xfrm>
            <a:off x="447817" y="599726"/>
            <a:ext cx="11290800" cy="3557700"/>
          </a:xfrm>
          <a:prstGeom prst="rect">
            <a:avLst/>
          </a:prstGeom>
          <a:noFill/>
          <a:ln>
            <a:noFill/>
          </a:ln>
        </p:spPr>
      </p:sp>
      <p:sp>
        <p:nvSpPr>
          <p:cNvPr id="175" name="Google Shape;175;g15b94a69027_0_175"/>
          <p:cNvSpPr txBox="1">
            <a:spLocks noGrp="1"/>
          </p:cNvSpPr>
          <p:nvPr>
            <p:ph type="body" idx="1"/>
          </p:nvPr>
        </p:nvSpPr>
        <p:spPr>
          <a:xfrm>
            <a:off x="581193" y="5260127"/>
            <a:ext cx="11029500" cy="5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189" lvl="0" indent="-228594" algn="l" rtl="0">
              <a:spcBef>
                <a:spcPts val="300"/>
              </a:spcBef>
              <a:spcAft>
                <a:spcPts val="0"/>
              </a:spcAft>
              <a:buSzPts val="1100"/>
              <a:buNone/>
              <a:defRPr sz="1200"/>
            </a:lvl1pPr>
            <a:lvl2pPr marL="914377" lvl="1" indent="-228594" algn="l" rtl="0">
              <a:spcBef>
                <a:spcPts val="700"/>
              </a:spcBef>
              <a:spcAft>
                <a:spcPts val="0"/>
              </a:spcAft>
              <a:buSzPts val="1100"/>
              <a:buNone/>
              <a:defRPr sz="1200"/>
            </a:lvl2pPr>
            <a:lvl3pPr marL="1371566" lvl="2" indent="-228594" algn="l" rtl="0">
              <a:spcBef>
                <a:spcPts val="700"/>
              </a:spcBef>
              <a:spcAft>
                <a:spcPts val="0"/>
              </a:spcAft>
              <a:buSzPts val="900"/>
              <a:buNone/>
              <a:defRPr sz="1100"/>
            </a:lvl3pPr>
            <a:lvl4pPr marL="1828754" lvl="3" indent="-228594" algn="l" rtl="0">
              <a:spcBef>
                <a:spcPts val="700"/>
              </a:spcBef>
              <a:spcAft>
                <a:spcPts val="0"/>
              </a:spcAft>
              <a:buSzPts val="800"/>
              <a:buNone/>
              <a:defRPr sz="900"/>
            </a:lvl4pPr>
            <a:lvl5pPr marL="2285943" lvl="4" indent="-228594" algn="l" rtl="0">
              <a:spcBef>
                <a:spcPts val="700"/>
              </a:spcBef>
              <a:spcAft>
                <a:spcPts val="0"/>
              </a:spcAft>
              <a:buSzPts val="800"/>
              <a:buNone/>
              <a:defRPr sz="900"/>
            </a:lvl5pPr>
            <a:lvl6pPr marL="2743131" lvl="5" indent="-228594" algn="l" rtl="0">
              <a:spcBef>
                <a:spcPts val="700"/>
              </a:spcBef>
              <a:spcAft>
                <a:spcPts val="0"/>
              </a:spcAft>
              <a:buSzPts val="800"/>
              <a:buNone/>
              <a:defRPr sz="900"/>
            </a:lvl6pPr>
            <a:lvl7pPr marL="3200320" lvl="6" indent="-228594" algn="l" rtl="0">
              <a:spcBef>
                <a:spcPts val="700"/>
              </a:spcBef>
              <a:spcAft>
                <a:spcPts val="0"/>
              </a:spcAft>
              <a:buSzPts val="800"/>
              <a:buNone/>
              <a:defRPr sz="900"/>
            </a:lvl7pPr>
            <a:lvl8pPr marL="3657509" lvl="7" indent="-228594" algn="l" rtl="0">
              <a:spcBef>
                <a:spcPts val="700"/>
              </a:spcBef>
              <a:spcAft>
                <a:spcPts val="0"/>
              </a:spcAft>
              <a:buSzPts val="800"/>
              <a:buNone/>
              <a:defRPr sz="900"/>
            </a:lvl8pPr>
            <a:lvl9pPr marL="4114697" lvl="8" indent="-228594" algn="l" rtl="0">
              <a:spcBef>
                <a:spcPts val="700"/>
              </a:spcBef>
              <a:spcAft>
                <a:spcPts val="700"/>
              </a:spcAft>
              <a:buSzPts val="800"/>
              <a:buNone/>
              <a:defRPr sz="900"/>
            </a:lvl9pPr>
          </a:lstStyle>
          <a:p>
            <a:endParaRPr/>
          </a:p>
        </p:txBody>
      </p:sp>
      <p:sp>
        <p:nvSpPr>
          <p:cNvPr id="176" name="Google Shape;176;g15b94a69027_0_175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77" name="Google Shape;177;g15b94a69027_0_175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78" name="Google Shape;178;g15b94a69027_0_175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666248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g15b94a69027_0_182"/>
          <p:cNvSpPr/>
          <p:nvPr/>
        </p:nvSpPr>
        <p:spPr>
          <a:xfrm>
            <a:off x="440287" y="614407"/>
            <a:ext cx="11309700" cy="1189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g15b94a69027_0_182"/>
          <p:cNvSpPr txBox="1">
            <a:spLocks noGrp="1"/>
          </p:cNvSpPr>
          <p:nvPr>
            <p:ph type="title"/>
          </p:nvPr>
        </p:nvSpPr>
        <p:spPr>
          <a:xfrm>
            <a:off x="581193" y="702157"/>
            <a:ext cx="11029500" cy="101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82" name="Google Shape;182;g15b94a69027_0_182"/>
          <p:cNvSpPr txBox="1">
            <a:spLocks noGrp="1"/>
          </p:cNvSpPr>
          <p:nvPr>
            <p:ph type="body" idx="1"/>
          </p:nvPr>
        </p:nvSpPr>
        <p:spPr>
          <a:xfrm rot="5400000">
            <a:off x="4334609" y="-1417297"/>
            <a:ext cx="3522900" cy="1102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23843" algn="l" rtl="0">
              <a:spcBef>
                <a:spcPts val="700"/>
              </a:spcBef>
              <a:spcAft>
                <a:spcPts val="0"/>
              </a:spcAft>
              <a:buSzPts val="1500"/>
              <a:buChar char="◼"/>
              <a:defRPr/>
            </a:lvl2pPr>
            <a:lvl3pPr marL="1371566" lvl="2" indent="-311143" algn="l" rtl="0">
              <a:spcBef>
                <a:spcPts val="700"/>
              </a:spcBef>
              <a:spcAft>
                <a:spcPts val="0"/>
              </a:spcAft>
              <a:buSzPts val="1300"/>
              <a:buChar char="◼"/>
              <a:defRPr/>
            </a:lvl3pPr>
            <a:lvl4pPr marL="1828754" lvl="3" indent="-298443" algn="l" rtl="0">
              <a:spcBef>
                <a:spcPts val="700"/>
              </a:spcBef>
              <a:spcAft>
                <a:spcPts val="0"/>
              </a:spcAft>
              <a:buSzPts val="1100"/>
              <a:buChar char="◼"/>
              <a:defRPr/>
            </a:lvl4pPr>
            <a:lvl5pPr marL="2285943" lvl="4" indent="-298443" algn="l" rtl="0">
              <a:spcBef>
                <a:spcPts val="700"/>
              </a:spcBef>
              <a:spcAft>
                <a:spcPts val="0"/>
              </a:spcAft>
              <a:buSzPts val="11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83" name="Google Shape;183;g15b94a69027_0_182"/>
          <p:cNvSpPr txBox="1">
            <a:spLocks noGrp="1"/>
          </p:cNvSpPr>
          <p:nvPr>
            <p:ph type="dt" idx="10"/>
          </p:nvPr>
        </p:nvSpPr>
        <p:spPr>
          <a:xfrm>
            <a:off x="7605951" y="5956138"/>
            <a:ext cx="2844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84" name="Google Shape;184;g15b94a69027_0_182"/>
          <p:cNvSpPr txBox="1">
            <a:spLocks noGrp="1"/>
          </p:cNvSpPr>
          <p:nvPr>
            <p:ph type="ftr" idx="11"/>
          </p:nvPr>
        </p:nvSpPr>
        <p:spPr>
          <a:xfrm>
            <a:off x="581193" y="5951811"/>
            <a:ext cx="6917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85" name="Google Shape;185;g15b94a69027_0_182"/>
          <p:cNvSpPr txBox="1">
            <a:spLocks noGrp="1"/>
          </p:cNvSpPr>
          <p:nvPr>
            <p:ph type="sldNum" idx="12"/>
          </p:nvPr>
        </p:nvSpPr>
        <p:spPr>
          <a:xfrm>
            <a:off x="10558300" y="5956138"/>
            <a:ext cx="1052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2234944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g15b94a69027_0_189"/>
          <p:cNvSpPr/>
          <p:nvPr/>
        </p:nvSpPr>
        <p:spPr>
          <a:xfrm>
            <a:off x="8839202" y="599726"/>
            <a:ext cx="2906700" cy="5817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8" name="Google Shape;188;g15b94a69027_0_189"/>
          <p:cNvSpPr txBox="1">
            <a:spLocks noGrp="1"/>
          </p:cNvSpPr>
          <p:nvPr>
            <p:ph type="title"/>
          </p:nvPr>
        </p:nvSpPr>
        <p:spPr>
          <a:xfrm rot="5400000">
            <a:off x="7249666" y="2265127"/>
            <a:ext cx="5183100" cy="200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9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/>
          </a:p>
        </p:txBody>
      </p:sp>
      <p:sp>
        <p:nvSpPr>
          <p:cNvPr id="189" name="Google Shape;189;g15b94a69027_0_189"/>
          <p:cNvSpPr txBox="1">
            <a:spLocks noGrp="1"/>
          </p:cNvSpPr>
          <p:nvPr>
            <p:ph type="body" idx="1"/>
          </p:nvPr>
        </p:nvSpPr>
        <p:spPr>
          <a:xfrm rot="5400000">
            <a:off x="2131503" y="-680874"/>
            <a:ext cx="5183100" cy="789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rmAutofit/>
          </a:bodyPr>
          <a:lstStyle>
            <a:lvl1pPr marL="457189" lvl="0" indent="-330192" algn="l" rtl="0">
              <a:spcBef>
                <a:spcPts val="400"/>
              </a:spcBef>
              <a:spcAft>
                <a:spcPts val="0"/>
              </a:spcAft>
              <a:buSzPts val="1600"/>
              <a:buChar char="◼"/>
              <a:defRPr/>
            </a:lvl1pPr>
            <a:lvl2pPr marL="914377" lvl="1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2pPr>
            <a:lvl3pPr marL="1371566" lvl="2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3pPr>
            <a:lvl4pPr marL="1828754" lvl="3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4pPr>
            <a:lvl5pPr marL="2285943" lvl="4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5pPr>
            <a:lvl6pPr marL="2743131" lvl="5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6pPr>
            <a:lvl7pPr marL="3200320" lvl="6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7pPr>
            <a:lvl8pPr marL="3657509" lvl="7" indent="-330192" algn="l" rtl="0">
              <a:spcBef>
                <a:spcPts val="700"/>
              </a:spcBef>
              <a:spcAft>
                <a:spcPts val="0"/>
              </a:spcAft>
              <a:buSzPts val="1600"/>
              <a:buChar char="◼"/>
              <a:defRPr/>
            </a:lvl8pPr>
            <a:lvl9pPr marL="4114697" lvl="8" indent="-330192" algn="l" rtl="0">
              <a:spcBef>
                <a:spcPts val="700"/>
              </a:spcBef>
              <a:spcAft>
                <a:spcPts val="700"/>
              </a:spcAft>
              <a:buSzPts val="1600"/>
              <a:buChar char="◼"/>
              <a:defRPr/>
            </a:lvl9pPr>
          </a:lstStyle>
          <a:p>
            <a:endParaRPr/>
          </a:p>
        </p:txBody>
      </p:sp>
      <p:sp>
        <p:nvSpPr>
          <p:cNvPr id="190" name="Google Shape;190;g15b94a69027_0_189"/>
          <p:cNvSpPr txBox="1">
            <a:spLocks noGrp="1"/>
          </p:cNvSpPr>
          <p:nvPr>
            <p:ph type="dt" idx="10"/>
          </p:nvPr>
        </p:nvSpPr>
        <p:spPr>
          <a:xfrm>
            <a:off x="8993674" y="5956138"/>
            <a:ext cx="1328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91" name="Google Shape;191;g15b94a69027_0_189"/>
          <p:cNvSpPr txBox="1">
            <a:spLocks noGrp="1"/>
          </p:cNvSpPr>
          <p:nvPr>
            <p:ph type="ftr" idx="11"/>
          </p:nvPr>
        </p:nvSpPr>
        <p:spPr>
          <a:xfrm>
            <a:off x="774923" y="5951811"/>
            <a:ext cx="7896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1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92" name="Google Shape;192;g15b94a69027_0_189"/>
          <p:cNvSpPr txBox="1">
            <a:spLocks noGrp="1"/>
          </p:cNvSpPr>
          <p:nvPr>
            <p:ph type="sldNum" idx="12"/>
          </p:nvPr>
        </p:nvSpPr>
        <p:spPr>
          <a:xfrm>
            <a:off x="10446615" y="5956138"/>
            <a:ext cx="11643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0" marR="0" lvl="1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0" marR="0" lvl="2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0" marR="0" lvl="3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0" marR="0" lvl="4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0" marR="0" lvl="5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0" marR="0" lvl="6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0" marR="0" lvl="7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0" marR="0" lvl="8" indent="0" algn="l" rtl="0">
              <a:spcBef>
                <a:spcPts val="0"/>
              </a:spcBef>
              <a:buNone/>
              <a:defRPr sz="1900">
                <a:solidFill>
                  <a:srgbClr val="5BBDE8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fld id="{00000000-1234-1234-1234-123412341234}" type="slidenum">
              <a:rPr lang="uk-UA" smtClean="0"/>
              <a:pPr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285579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 txBox="1">
            <a:spLocks noGrp="1"/>
          </p:cNvSpPr>
          <p:nvPr>
            <p:ph type="title"/>
          </p:nvPr>
        </p:nvSpPr>
        <p:spPr>
          <a:xfrm>
            <a:off x="963084" y="4406901"/>
            <a:ext cx="10363200" cy="13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53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marR="0" lvl="0" indent="-304792" algn="l" rtl="0"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2133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4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405895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ación" type="twoTxTwoObj">
  <p:cSld name="Comparació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5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body" idx="1"/>
          </p:nvPr>
        </p:nvSpPr>
        <p:spPr>
          <a:xfrm>
            <a:off x="609600" y="1535113"/>
            <a:ext cx="5386800" cy="6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marR="0" lvl="0" indent="-304792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Google Shape;34;p6"/>
          <p:cNvSpPr txBox="1">
            <a:spLocks noGrp="1"/>
          </p:cNvSpPr>
          <p:nvPr>
            <p:ph type="body" idx="2"/>
          </p:nvPr>
        </p:nvSpPr>
        <p:spPr>
          <a:xfrm>
            <a:off x="609600" y="2174875"/>
            <a:ext cx="5386800" cy="39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507987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body" idx="3"/>
          </p:nvPr>
        </p:nvSpPr>
        <p:spPr>
          <a:xfrm>
            <a:off x="6193371" y="1535113"/>
            <a:ext cx="5389200" cy="63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marR="0" lvl="0" indent="-304792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2133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" name="Google Shape;36;p6"/>
          <p:cNvSpPr txBox="1">
            <a:spLocks noGrp="1"/>
          </p:cNvSpPr>
          <p:nvPr>
            <p:ph type="body" idx="4"/>
          </p:nvPr>
        </p:nvSpPr>
        <p:spPr>
          <a:xfrm>
            <a:off x="6193371" y="2174875"/>
            <a:ext cx="5389200" cy="39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507987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457189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40256" algn="l" rtl="0"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" name="Google Shape;37;p6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91672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ólo el título" type="titleOnly">
  <p:cSld name="Sólo el título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5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42" name="Google Shape;42;p7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" name="Google Shape;43;p7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70802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ido con título" type="objTx">
  <p:cSld name="Contenido con título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9"/>
          <p:cNvSpPr txBox="1">
            <a:spLocks noGrp="1"/>
          </p:cNvSpPr>
          <p:nvPr>
            <p:ph type="title"/>
          </p:nvPr>
        </p:nvSpPr>
        <p:spPr>
          <a:xfrm>
            <a:off x="609604" y="273049"/>
            <a:ext cx="4011200" cy="11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51" name="Google Shape;51;p9"/>
          <p:cNvSpPr txBox="1">
            <a:spLocks noGrp="1"/>
          </p:cNvSpPr>
          <p:nvPr>
            <p:ph type="body" idx="1"/>
          </p:nvPr>
        </p:nvSpPr>
        <p:spPr>
          <a:xfrm>
            <a:off x="4766733" y="273052"/>
            <a:ext cx="6815600" cy="585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575719" algn="l" rtl="0"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42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541853" algn="l" rtl="0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507987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Google Shape;52;p9"/>
          <p:cNvSpPr txBox="1">
            <a:spLocks noGrp="1"/>
          </p:cNvSpPr>
          <p:nvPr>
            <p:ph type="body" idx="2"/>
          </p:nvPr>
        </p:nvSpPr>
        <p:spPr>
          <a:xfrm>
            <a:off x="609604" y="1435103"/>
            <a:ext cx="4011200" cy="46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9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9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9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24084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" type="picTx">
  <p:cSld name="Imagen con título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0"/>
          <p:cNvSpPr txBox="1">
            <a:spLocks noGrp="1"/>
          </p:cNvSpPr>
          <p:nvPr>
            <p:ph type="title"/>
          </p:nvPr>
        </p:nvSpPr>
        <p:spPr>
          <a:xfrm>
            <a:off x="2389717" y="4800601"/>
            <a:ext cx="7315200" cy="5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  <a:defRPr sz="2667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58" name="Google Shape;58;p10"/>
          <p:cNvSpPr>
            <a:spLocks noGrp="1"/>
          </p:cNvSpPr>
          <p:nvPr>
            <p:ph type="pic" idx="2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42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Google Shape;59;p10"/>
          <p:cNvSpPr txBox="1">
            <a:spLocks noGrp="1"/>
          </p:cNvSpPr>
          <p:nvPr>
            <p:ph type="body" idx="1"/>
          </p:nvPr>
        </p:nvSpPr>
        <p:spPr>
          <a:xfrm>
            <a:off x="2389717" y="5367339"/>
            <a:ext cx="7315200" cy="80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304792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304792" algn="l" rtl="0"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304792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0" name="Google Shape;60;p10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" name="Google Shape;61;p10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" name="Google Shape;62;p10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72723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vertical" type="vertTx">
  <p:cSld name="Título y texto vertical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1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11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5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65" name="Google Shape;65;p11"/>
          <p:cNvSpPr txBox="1">
            <a:spLocks noGrp="1"/>
          </p:cNvSpPr>
          <p:nvPr>
            <p:ph type="body" idx="1"/>
          </p:nvPr>
        </p:nvSpPr>
        <p:spPr>
          <a:xfrm rot="5400000">
            <a:off x="3833000" y="-1623199"/>
            <a:ext cx="4526000" cy="1097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575719" algn="l" rtl="0"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42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541853" algn="l" rtl="0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507987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Google Shape;66;p11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Google Shape;67;p11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8" name="Google Shape;68;p11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533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B534F865-65DF-4129-9CE5-414E249375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1248" y="3359239"/>
            <a:ext cx="4357688" cy="2252574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300" b="0" i="0">
                <a:solidFill>
                  <a:schemeClr val="bg2"/>
                </a:solidFill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10C334-F1CE-4CEF-ADC6-D1BADB994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1248" y="2081624"/>
            <a:ext cx="4357688" cy="1325563"/>
          </a:xfrm>
        </p:spPr>
        <p:txBody>
          <a:bodyPr lIns="0" r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HART SLID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3F74C5-9ADD-4AE3-BCA5-88726CC2A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11877" y="3191969"/>
            <a:ext cx="3968496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6" name="Chart Placeholder 18">
            <a:extLst>
              <a:ext uri="{FF2B5EF4-FFF2-40B4-BE49-F238E27FC236}">
                <a16:creationId xmlns:a16="http://schemas.microsoft.com/office/drawing/2014/main" id="{BE9C98A7-B145-402E-BADA-CE785E3BA996}"/>
              </a:ext>
            </a:extLst>
          </p:cNvPr>
          <p:cNvSpPr>
            <a:spLocks noGrp="1"/>
          </p:cNvSpPr>
          <p:nvPr>
            <p:ph type="chart" sz="quarter" idx="32"/>
          </p:nvPr>
        </p:nvSpPr>
        <p:spPr>
          <a:xfrm>
            <a:off x="6981371" y="1246188"/>
            <a:ext cx="4284663" cy="436562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253428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vertical y texto" type="vertTitleAndTx">
  <p:cSld name="Título vertical y texto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2"/>
          <p:cNvSpPr txBox="1">
            <a:spLocks noGrp="1"/>
          </p:cNvSpPr>
          <p:nvPr>
            <p:ph type="title"/>
          </p:nvPr>
        </p:nvSpPr>
        <p:spPr>
          <a:xfrm rot="5400000">
            <a:off x="8016800" y="1028776"/>
            <a:ext cx="43880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5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/>
            </a:lvl9pPr>
          </a:lstStyle>
          <a:p>
            <a:endParaRPr/>
          </a:p>
        </p:txBody>
      </p:sp>
      <p:sp>
        <p:nvSpPr>
          <p:cNvPr id="71" name="Google Shape;71;p12"/>
          <p:cNvSpPr txBox="1">
            <a:spLocks noGrp="1"/>
          </p:cNvSpPr>
          <p:nvPr>
            <p:ph type="body" idx="1"/>
          </p:nvPr>
        </p:nvSpPr>
        <p:spPr>
          <a:xfrm rot="5400000">
            <a:off x="2428800" y="-1612824"/>
            <a:ext cx="4388000" cy="802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575719" algn="l" rtl="0"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42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1219170" marR="0" lvl="1" indent="-541853" algn="l" rtl="0"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373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828754" marR="0" lvl="2" indent="-507987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2438339" marR="0" lvl="3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3047924" marR="0" lvl="4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3657509" marR="0" lvl="5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4267093" marR="0" lvl="6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4876678" marR="0" lvl="7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5486263" marR="0" lvl="8" indent="-474121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Google Shape;72;p12"/>
          <p:cNvSpPr txBox="1">
            <a:spLocks noGrp="1"/>
          </p:cNvSpPr>
          <p:nvPr>
            <p:ph type="dt" idx="10"/>
          </p:nvPr>
        </p:nvSpPr>
        <p:spPr>
          <a:xfrm>
            <a:off x="609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3" name="Google Shape;73;p12"/>
          <p:cNvSpPr txBox="1">
            <a:spLocks noGrp="1"/>
          </p:cNvSpPr>
          <p:nvPr>
            <p:ph type="ftr" idx="11"/>
          </p:nvPr>
        </p:nvSpPr>
        <p:spPr>
          <a:xfrm>
            <a:off x="4165600" y="6356352"/>
            <a:ext cx="386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2"/>
          <p:cNvSpPr txBox="1">
            <a:spLocks noGrp="1"/>
          </p:cNvSpPr>
          <p:nvPr>
            <p:ph type="sldNum" idx="12"/>
          </p:nvPr>
        </p:nvSpPr>
        <p:spPr>
          <a:xfrm>
            <a:off x="8737600" y="6356352"/>
            <a:ext cx="284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24918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9281A6-45A0-4AEB-B9F0-60C7CC4B2F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A52C8-F6B4-4229-81FA-CEEB39662760}" type="datetimeFigureOut">
              <a:rPr lang="en-US" smtClean="0"/>
              <a:t>10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9A1AF4-AC9A-496B-BDC2-89B528B0AF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44F06-560B-4063-8EBF-E2B7673D8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840E2B-A91F-4990-BF89-442179EB1C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53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B534F865-65DF-4129-9CE5-414E249375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3563" y="3359239"/>
            <a:ext cx="2596896" cy="2252574"/>
          </a:xfrm>
        </p:spPr>
        <p:txBody>
          <a:bodyPr lIns="0" rIns="0">
            <a:noAutofit/>
          </a:bodyPr>
          <a:lstStyle>
            <a:lvl1pPr marL="0" indent="0" algn="l">
              <a:buNone/>
              <a:defRPr sz="2300" b="0" i="0">
                <a:solidFill>
                  <a:schemeClr val="bg2"/>
                </a:solidFill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10C334-F1CE-4CEF-ADC6-D1BADB994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62" y="1757774"/>
            <a:ext cx="2669859" cy="1325563"/>
          </a:xfrm>
        </p:spPr>
        <p:txBody>
          <a:bodyPr lIns="0" r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ABLE SLID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3F74C5-9ADD-4AE3-BCA5-88726CC2A1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683563" y="3191969"/>
            <a:ext cx="1545336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Table Placeholder 17">
            <a:extLst>
              <a:ext uri="{FF2B5EF4-FFF2-40B4-BE49-F238E27FC236}">
                <a16:creationId xmlns:a16="http://schemas.microsoft.com/office/drawing/2014/main" id="{62814DE5-26B2-4A8E-BA8D-A2E4C5547EB9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911225" y="1505433"/>
            <a:ext cx="6561138" cy="3847135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noProof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1947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83C23D1-BE9A-4E52-9BEF-D55C4CB757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645798" y="6386170"/>
            <a:ext cx="307239" cy="343814"/>
          </a:xfrm>
          <a:prstGeom prst="rect">
            <a:avLst/>
          </a:prstGeom>
          <a:noFill/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0" name="Rectangle 9" descr="View of a lake and mountain range">
            <a:extLst>
              <a:ext uri="{FF2B5EF4-FFF2-40B4-BE49-F238E27FC236}">
                <a16:creationId xmlns:a16="http://schemas.microsoft.com/office/drawing/2014/main" id="{CECF654C-A7AE-4727-9F7F-492670C3E642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rcRect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F3F28-2A24-40B5-AC8C-5A53DC799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2368296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1680000" scaled="0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D2C969-FCE5-427B-89DE-6A79722FB6F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7A2807-F7BA-4350-93C3-95213A4854E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2F6AE88-305E-4E68-AF8E-10BCB695A1D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BAC97E-3C4E-4D04-8A57-DC61E07CB8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B33A3032-1037-4342-827F-CF13499782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1" y="1835244"/>
            <a:ext cx="10515599" cy="629105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2300" b="0" i="0">
                <a:solidFill>
                  <a:schemeClr val="bg2"/>
                </a:solidFill>
              </a:defRPr>
            </a:lvl1pPr>
            <a:lvl2pPr marL="457200" indent="0">
              <a:buNone/>
              <a:defRPr sz="1800" b="1" i="1"/>
            </a:lvl2pPr>
            <a:lvl3pPr marL="914400" indent="0">
              <a:buNone/>
              <a:defRPr sz="1800" b="1" i="1"/>
            </a:lvl3pPr>
            <a:lvl4pPr marL="1371600" indent="0">
              <a:buNone/>
              <a:defRPr sz="1800" b="1" i="1"/>
            </a:lvl4pPr>
            <a:lvl5pPr marL="1828800" indent="0">
              <a:buNone/>
              <a:defRPr sz="1800" b="1" i="1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FD6F6A17-AFDC-40C7-9D63-50FA052A1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57629"/>
            <a:ext cx="10515600" cy="1325563"/>
          </a:xfrm>
        </p:spPr>
        <p:txBody>
          <a:bodyPr lIns="0" r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BIG IMAGE SLID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668B9DC-C6AF-45D4-BBA3-A5EF781EAB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759708" y="1667974"/>
            <a:ext cx="4672584" cy="36576"/>
          </a:xfrm>
          <a:prstGeom prst="rect">
            <a:avLst/>
          </a:prstGeom>
          <a:solidFill>
            <a:schemeClr val="bg2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12727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Unpaved road lined with trees, mountain side drive">
            <a:extLst>
              <a:ext uri="{FF2B5EF4-FFF2-40B4-BE49-F238E27FC236}">
                <a16:creationId xmlns:a16="http://schemas.microsoft.com/office/drawing/2014/main" id="{EC40FB52-44A8-43D1-8B33-F4E55A83AC38}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blipFill>
            <a:blip r:embed="rId2"/>
            <a:stretch>
              <a:fillRect l="-17" r="-17"/>
            </a:stretch>
          </a:blip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4ACA68-1C2C-4C4D-9CB4-1C8BF3E03F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9540" y="128016"/>
            <a:ext cx="11932920" cy="6601968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3">
                  <a:alpha val="80000"/>
                </a:schemeClr>
              </a:gs>
            </a:gsLst>
            <a:lin ang="0" scaled="1"/>
            <a:tileRect/>
          </a:gra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6ADBD7-8355-4951-B459-EC284BCE8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A140A0-8435-451E-9A8E-9C33B97E1B1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noProof="0" dirty="0"/>
              <a:t>MM.DD.20XX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BDD90A-F598-4982-8244-00A2189F77B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10C334-F1CE-4CEF-ADC6-D1BADB9947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8873"/>
            <a:ext cx="10515600" cy="1325563"/>
          </a:xfrm>
        </p:spPr>
        <p:txBody>
          <a:bodyPr lIns="0" r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VIDEO SLID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6E88236-C248-4008-9619-75BCE6D340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08548" y="6114045"/>
            <a:ext cx="374904" cy="374904"/>
          </a:xfrm>
          <a:prstGeom prst="ellipse">
            <a:avLst/>
          </a:prstGeom>
          <a:noFill/>
          <a:ln w="12700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6" name="Media Placeholder 7">
            <a:extLst>
              <a:ext uri="{FF2B5EF4-FFF2-40B4-BE49-F238E27FC236}">
                <a16:creationId xmlns:a16="http://schemas.microsoft.com/office/drawing/2014/main" id="{A11F77F4-4B16-4503-B9B6-AE22C686E3E3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>
          <a:xfrm>
            <a:off x="1395984" y="1497770"/>
            <a:ext cx="9400032" cy="4215384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noProof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9738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5097E-EB08-4475-9112-275B840279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21279" y="6118484"/>
            <a:ext cx="54944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D495E168-DA5E-4888-8D8A-92B118324C1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DB6A3A-74E6-4FE2-8AD2-CEB070447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0128AA-FDF4-4DD5-A009-3C58D2457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48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1C2DC0-7E13-4A66-9F9B-371BA9C6E4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610600" y="611848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MM.DD.20XX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F296578-6D40-435B-861E-0904DDC10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118484"/>
            <a:ext cx="33987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US" noProof="0" dirty="0"/>
              <a:t>ADD A FOOTER</a:t>
            </a:r>
          </a:p>
        </p:txBody>
      </p:sp>
    </p:spTree>
    <p:extLst>
      <p:ext uri="{BB962C8B-B14F-4D97-AF65-F5344CB8AC3E}">
        <p14:creationId xmlns:p14="http://schemas.microsoft.com/office/powerpoint/2010/main" val="322399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77" r:id="rId2"/>
    <p:sldLayoutId id="2147483678" r:id="rId3"/>
    <p:sldLayoutId id="2147483679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87" r:id="rId17"/>
    <p:sldLayoutId id="2147483695" r:id="rId18"/>
    <p:sldLayoutId id="2147483688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 userDrawn="1">
          <p15:clr>
            <a:srgbClr val="F26B43"/>
          </p15:clr>
        </p15:guide>
        <p15:guide id="2" pos="574" userDrawn="1">
          <p15:clr>
            <a:srgbClr val="F26B43"/>
          </p15:clr>
        </p15:guide>
        <p15:guide id="3" pos="7106" userDrawn="1">
          <p15:clr>
            <a:srgbClr val="F26B43"/>
          </p15:clr>
        </p15:guide>
        <p15:guide id="4" orient="horz" pos="3748" userDrawn="1">
          <p15:clr>
            <a:srgbClr val="F26B43"/>
          </p15:clr>
        </p15:guide>
        <p15:guide id="5" pos="4407" userDrawn="1">
          <p15:clr>
            <a:srgbClr val="F26B43"/>
          </p15:clr>
        </p15:guide>
        <p15:guide id="6" pos="327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2160" userDrawn="1">
          <p15:clr>
            <a:srgbClr val="F26B43"/>
          </p15:clr>
        </p15:guide>
        <p15:guide id="9" pos="302" userDrawn="1">
          <p15:clr>
            <a:srgbClr val="F26B43"/>
          </p15:clr>
        </p15:guide>
        <p15:guide id="10" pos="737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0/2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640216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8D6DF67-B34D-799C-552E-3275E41D9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77D8E8-8A40-1657-CA08-7E4993556A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27C513-9DC4-9C98-DE17-C0C7DFA500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B69DF-FBEE-4E76-B729-FCAD56F464FD}" type="datetimeFigureOut">
              <a:rPr lang="en-US" smtClean="0"/>
              <a:t>10/2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49D1E0-DB24-8D08-2302-ABDF7B7FD2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2CF1A-9A9C-2A44-B3B4-CAFC8E106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2F9C2A-F2E5-454C-940C-0233D1408D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8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g15b94a69027_0_104"/>
          <p:cNvSpPr txBox="1">
            <a:spLocks noGrp="1"/>
          </p:cNvSpPr>
          <p:nvPr>
            <p:ph type="title"/>
          </p:nvPr>
        </p:nvSpPr>
        <p:spPr>
          <a:xfrm>
            <a:off x="581193" y="705125"/>
            <a:ext cx="11029500" cy="118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b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ill Sans"/>
              <a:buNone/>
              <a:defRPr sz="2800" b="0" i="0" u="none" strike="noStrike" cap="none">
                <a:solidFill>
                  <a:schemeClr val="lt1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03" name="Google Shape;103;g15b94a69027_0_104"/>
          <p:cNvSpPr txBox="1">
            <a:spLocks noGrp="1"/>
          </p:cNvSpPr>
          <p:nvPr>
            <p:ph type="body" idx="1"/>
          </p:nvPr>
        </p:nvSpPr>
        <p:spPr>
          <a:xfrm>
            <a:off x="581193" y="2336003"/>
            <a:ext cx="11029500" cy="352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3" tIns="45699" rIns="91423" bIns="45699" anchor="ctr" anchorCtr="0">
            <a:normAutofit/>
          </a:bodyPr>
          <a:lstStyle>
            <a:lvl1pPr marL="457200" marR="0" lvl="0" indent="-330200" algn="l" rtl="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Noto Sans Symbols"/>
              <a:buChar char="◼"/>
              <a:defRPr sz="19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  <a:lvl2pPr marL="914400" marR="0" lvl="1" indent="-3238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500"/>
              <a:buFont typeface="Noto Sans Symbols"/>
              <a:buChar char="◼"/>
              <a:defRPr sz="16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2pPr>
            <a:lvl3pPr marL="1371600" marR="0" lvl="2" indent="-3111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300"/>
              <a:buFont typeface="Noto Sans Symbols"/>
              <a:buChar char="◼"/>
              <a:defRPr sz="15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3pPr>
            <a:lvl4pPr marL="1828800" marR="0" lvl="3" indent="-2984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4pPr>
            <a:lvl5pPr marL="2286000" marR="0" lvl="4" indent="-2984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5pPr>
            <a:lvl6pPr marL="2743200" marR="0" lvl="5" indent="-2984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6pPr>
            <a:lvl7pPr marL="3200400" marR="0" lvl="6" indent="-2984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7pPr>
            <a:lvl8pPr marL="3657600" marR="0" lvl="7" indent="-298450" algn="l" rtl="0">
              <a:spcBef>
                <a:spcPts val="700"/>
              </a:spcBef>
              <a:spcAft>
                <a:spcPts val="0"/>
              </a:spcAft>
              <a:buClr>
                <a:schemeClr val="accent2"/>
              </a:buClr>
              <a:buSzPts val="11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8pPr>
            <a:lvl9pPr marL="4114800" marR="0" lvl="8" indent="-298450" algn="l" rtl="0">
              <a:spcBef>
                <a:spcPts val="700"/>
              </a:spcBef>
              <a:spcAft>
                <a:spcPts val="700"/>
              </a:spcAft>
              <a:buClr>
                <a:schemeClr val="accent2"/>
              </a:buClr>
              <a:buSzPts val="1100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ill Sans"/>
                <a:ea typeface="Gill Sans"/>
                <a:cs typeface="Gill Sans"/>
                <a:sym typeface="Gill Sans"/>
              </a:defRPr>
            </a:lvl9pPr>
          </a:lstStyle>
          <a:p>
            <a:endParaRPr/>
          </a:p>
        </p:txBody>
      </p:sp>
      <p:sp>
        <p:nvSpPr>
          <p:cNvPr id="104" name="Google Shape;104;g15b94a69027_0_104"/>
          <p:cNvSpPr/>
          <p:nvPr/>
        </p:nvSpPr>
        <p:spPr>
          <a:xfrm>
            <a:off x="446535" y="457201"/>
            <a:ext cx="3703200" cy="95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5" name="Google Shape;105;g15b94a69027_0_104"/>
          <p:cNvSpPr/>
          <p:nvPr/>
        </p:nvSpPr>
        <p:spPr>
          <a:xfrm>
            <a:off x="8042147" y="453643"/>
            <a:ext cx="3703200" cy="987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6" name="Google Shape;106;g15b94a69027_0_104"/>
          <p:cNvSpPr/>
          <p:nvPr/>
        </p:nvSpPr>
        <p:spPr>
          <a:xfrm>
            <a:off x="4241831" y="457201"/>
            <a:ext cx="3703200" cy="915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3" tIns="91423" rIns="91423" bIns="91423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7387309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235176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6.xml"/><Relationship Id="rId4" Type="http://schemas.openxmlformats.org/officeDocument/2006/relationships/chart" Target="../charts/char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70722D-0BC0-4487-812D-1E4E0DEC11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36325" y="5152484"/>
            <a:ext cx="4367531" cy="324417"/>
          </a:xfrm>
        </p:spPr>
        <p:txBody>
          <a:bodyPr/>
          <a:lstStyle/>
          <a:p>
            <a:r>
              <a:rPr lang="en-US" dirty="0"/>
              <a:t>Kati </a:t>
            </a:r>
            <a:r>
              <a:rPr lang="en-US" dirty="0" err="1"/>
              <a:t>Suominen</a:t>
            </a:r>
            <a:r>
              <a:rPr lang="en-US" dirty="0"/>
              <a:t>, Nextrade Group</a:t>
            </a:r>
            <a:endParaRPr lang="ru-R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57963-8D3D-4F24-B535-54652EE09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400" dirty="0"/>
              <a:t>SME TRADE AND SUSTAINABILITY </a:t>
            </a:r>
            <a:endParaRPr lang="ru-RU" sz="6400" normalizeH="1" baseline="300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23514F-9C9F-4868-A7D9-66CAA07E61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9066" y="838888"/>
            <a:ext cx="10090287" cy="1101897"/>
          </a:xfrm>
        </p:spPr>
        <p:txBody>
          <a:bodyPr/>
          <a:lstStyle/>
          <a:p>
            <a:r>
              <a:rPr lang="es-ES" dirty="0"/>
              <a:t> ESG en las Pymes y el Desafío de Avanzar en una Agenda de Sustentabilidad</a:t>
            </a:r>
            <a:endParaRPr lang="ru-R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D6776E3-884A-86E5-A269-512BA80A9B5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060443" y="5823927"/>
            <a:ext cx="4367531" cy="324417"/>
          </a:xfrm>
        </p:spPr>
        <p:txBody>
          <a:bodyPr/>
          <a:lstStyle/>
          <a:p>
            <a:r>
              <a:rPr lang="en-US" dirty="0"/>
              <a:t>25 October 2023</a:t>
            </a:r>
          </a:p>
        </p:txBody>
      </p:sp>
    </p:spTree>
    <p:extLst>
      <p:ext uri="{BB962C8B-B14F-4D97-AF65-F5344CB8AC3E}">
        <p14:creationId xmlns:p14="http://schemas.microsoft.com/office/powerpoint/2010/main" val="21423163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DEA92-BC0F-7CEE-B849-EA80A506A3B8}"/>
              </a:ext>
            </a:extLst>
          </p:cNvPr>
          <p:cNvSpPr txBox="1">
            <a:spLocks/>
          </p:cNvSpPr>
          <p:nvPr/>
        </p:nvSpPr>
        <p:spPr>
          <a:xfrm>
            <a:off x="250491" y="84398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ESP. FAST-GROWING EMERGING MARKET SMEs have </a:t>
            </a:r>
            <a:r>
              <a:rPr lang="en-US" sz="2400" dirty="0">
                <a:solidFill>
                  <a:prstClr val="black"/>
                </a:solidFill>
                <a:latin typeface="Gill Sans MT" panose="020B0502020104020203"/>
              </a:rPr>
              <a:t>FOCUSED ON GREENING</a:t>
            </a:r>
            <a:endParaRPr kumimoji="0" lang="en-US" sz="24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j-ea"/>
              <a:cs typeface="+mj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6C11376-AED0-3746-554F-CA39B6C5CE32}"/>
              </a:ext>
            </a:extLst>
          </p:cNvPr>
          <p:cNvGrpSpPr/>
          <p:nvPr/>
        </p:nvGrpSpPr>
        <p:grpSpPr>
          <a:xfrm>
            <a:off x="135505" y="837020"/>
            <a:ext cx="6097837" cy="666847"/>
            <a:chOff x="54818" y="2746269"/>
            <a:chExt cx="3622927" cy="97315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5682E6-9480-9243-ED30-48AD6C2D118B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485BE4E-B44F-84B6-B885-C181067F8175}"/>
                </a:ext>
              </a:extLst>
            </p:cNvPr>
            <p:cNvSpPr txBox="1"/>
            <p:nvPr/>
          </p:nvSpPr>
          <p:spPr>
            <a:xfrm>
              <a:off x="454913" y="2746269"/>
              <a:ext cx="3222832" cy="9731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Do you have sustainability / greening targets?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DA85451-8AAB-3E38-3041-2850A605918A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Nextrade Group survey with Asia-Pacific, African, and MENA micro and small firm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5F6213-E2AE-032A-F25C-32C976AD9E3E}"/>
              </a:ext>
            </a:extLst>
          </p:cNvPr>
          <p:cNvGrpSpPr/>
          <p:nvPr/>
        </p:nvGrpSpPr>
        <p:grpSpPr>
          <a:xfrm>
            <a:off x="6233342" y="773976"/>
            <a:ext cx="5660933" cy="580110"/>
            <a:chOff x="54818" y="2746269"/>
            <a:chExt cx="3628900" cy="846577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4FE47D4-A7FA-E2B2-DF7D-733985868849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B413557-1C24-559F-D183-53BF0C36363A}"/>
                </a:ext>
              </a:extLst>
            </p:cNvPr>
            <p:cNvSpPr txBox="1"/>
            <p:nvPr/>
          </p:nvSpPr>
          <p:spPr>
            <a:xfrm>
              <a:off x="460886" y="2872846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Gill Sans MT" panose="020B0502020104020203"/>
                </a:rPr>
                <a:t>I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nvestment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 to become more sustainable</a:t>
              </a: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254C322F-26C7-2FE3-E15B-B025A6C49D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5295139"/>
              </p:ext>
            </p:extLst>
          </p:nvPr>
        </p:nvGraphicFramePr>
        <p:xfrm>
          <a:off x="7031084" y="5651500"/>
          <a:ext cx="4698897" cy="1215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Box 17">
            <a:extLst>
              <a:ext uri="{FF2B5EF4-FFF2-40B4-BE49-F238E27FC236}">
                <a16:creationId xmlns:a16="http://schemas.microsoft.com/office/drawing/2014/main" id="{A470F5D4-A43B-0B45-BC41-9A5039D9F078}"/>
              </a:ext>
            </a:extLst>
          </p:cNvPr>
          <p:cNvSpPr txBox="1"/>
          <p:nvPr/>
        </p:nvSpPr>
        <p:spPr>
          <a:xfrm>
            <a:off x="7031084" y="5369398"/>
            <a:ext cx="5027484" cy="3012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ctr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Gill Sans MT" panose="020B0502020104020203"/>
              </a:rPr>
              <a:t>Most firms invest ~5% of revenue on sustainabilit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4C4B0DE-24D0-6147-B2F0-4DAEF9FBA4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9667648"/>
              </p:ext>
            </p:extLst>
          </p:nvPr>
        </p:nvGraphicFramePr>
        <p:xfrm>
          <a:off x="6244975" y="1187314"/>
          <a:ext cx="5811520" cy="409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CC370D5-548C-A545-AB42-AC40CAF7ED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4995681"/>
              </p:ext>
            </p:extLst>
          </p:nvPr>
        </p:nvGraphicFramePr>
        <p:xfrm>
          <a:off x="297725" y="1163682"/>
          <a:ext cx="5811520" cy="5438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935054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DEA92-BC0F-7CEE-B849-EA80A506A3B8}"/>
              </a:ext>
            </a:extLst>
          </p:cNvPr>
          <p:cNvSpPr txBox="1">
            <a:spLocks/>
          </p:cNvSpPr>
          <p:nvPr/>
        </p:nvSpPr>
        <p:spPr>
          <a:xfrm>
            <a:off x="250491" y="193050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SMEs have REPLACED DIRECTLY OR INDIRECTLY FOSSIL FUEL USE AND CHANGED LOGISTICS VENDORS 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8406547-8FF5-ACC2-A1B1-E8EDA2867F52}"/>
              </a:ext>
            </a:extLst>
          </p:cNvPr>
          <p:cNvGrpSpPr/>
          <p:nvPr/>
        </p:nvGrpSpPr>
        <p:grpSpPr>
          <a:xfrm>
            <a:off x="1174223" y="853492"/>
            <a:ext cx="10220021" cy="1086604"/>
            <a:chOff x="-3893907" y="2746269"/>
            <a:chExt cx="7171557" cy="158572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D19E47-1388-6F36-A8FB-26248E496537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5AB56E6-7590-153D-4971-2C460A3ABA3C}"/>
                </a:ext>
              </a:extLst>
            </p:cNvPr>
            <p:cNvSpPr txBox="1"/>
            <p:nvPr/>
          </p:nvSpPr>
          <p:spPr>
            <a:xfrm>
              <a:off x="-3893907" y="3611993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Strategies to reduce fossil fuels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DA85451-8AAB-3E38-3041-2850A605918A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Nextrade Group survey with Asia-Pacific, African, and MENA micro and small firm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CC6AB5DF-FCAC-C842-9370-5AEAD97172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0816490"/>
              </p:ext>
            </p:extLst>
          </p:nvPr>
        </p:nvGraphicFramePr>
        <p:xfrm>
          <a:off x="530797" y="1825629"/>
          <a:ext cx="5236210" cy="3699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C23C544D-9F6A-AEF7-74DA-04D972E7D5C6}"/>
              </a:ext>
            </a:extLst>
          </p:cNvPr>
          <p:cNvGrpSpPr/>
          <p:nvPr/>
        </p:nvGrpSpPr>
        <p:grpSpPr>
          <a:xfrm>
            <a:off x="587116" y="1042989"/>
            <a:ext cx="10807128" cy="792938"/>
            <a:chOff x="54818" y="2746269"/>
            <a:chExt cx="7583540" cy="115716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FF5D714-C5CC-7869-1254-9436E1C99555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BA72240-A374-7644-F59B-F80B24F3FC91}"/>
                </a:ext>
              </a:extLst>
            </p:cNvPr>
            <p:cNvSpPr txBox="1"/>
            <p:nvPr/>
          </p:nvSpPr>
          <p:spPr>
            <a:xfrm>
              <a:off x="4415526" y="3183434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Change of suppliers to meet sustainability targets and mandates</a:t>
              </a:r>
            </a:p>
          </p:txBody>
        </p:sp>
      </p:grp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34E8E04E-A55C-7118-EF91-0723529E58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9974472"/>
              </p:ext>
            </p:extLst>
          </p:nvPr>
        </p:nvGraphicFramePr>
        <p:xfrm>
          <a:off x="6424763" y="1861279"/>
          <a:ext cx="5366184" cy="42021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63933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DEA92-BC0F-7CEE-B849-EA80A506A3B8}"/>
              </a:ext>
            </a:extLst>
          </p:cNvPr>
          <p:cNvSpPr txBox="1">
            <a:spLocks/>
          </p:cNvSpPr>
          <p:nvPr/>
        </p:nvSpPr>
        <p:spPr>
          <a:xfrm>
            <a:off x="250491" y="84398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EMERGING MARKET SMEs have amplified AI use in the past few years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6C11376-AED0-3746-554F-CA39B6C5CE32}"/>
              </a:ext>
            </a:extLst>
          </p:cNvPr>
          <p:cNvGrpSpPr/>
          <p:nvPr/>
        </p:nvGrpSpPr>
        <p:grpSpPr>
          <a:xfrm>
            <a:off x="120316" y="782882"/>
            <a:ext cx="6101868" cy="762193"/>
            <a:chOff x="54818" y="2746269"/>
            <a:chExt cx="3625322" cy="111229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5682E6-9480-9243-ED30-48AD6C2D118B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485BE4E-B44F-84B6-B885-C181067F8175}"/>
                </a:ext>
              </a:extLst>
            </p:cNvPr>
            <p:cNvSpPr txBox="1"/>
            <p:nvPr/>
          </p:nvSpPr>
          <p:spPr>
            <a:xfrm>
              <a:off x="457308" y="3138567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ZA" sz="16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Gill Sans MT" panose="020B0502020104020203"/>
                </a:rPr>
                <a:t>D</a:t>
              </a:r>
              <a:r>
                <a:rPr kumimoji="0" lang="en-ZA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emands</a:t>
              </a:r>
              <a:r>
                <a:rPr kumimoji="0" lang="en-ZA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 SMEs face for sustainability / greening?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8406547-8FF5-ACC2-A1B1-E8EDA2867F52}"/>
              </a:ext>
            </a:extLst>
          </p:cNvPr>
          <p:cNvGrpSpPr/>
          <p:nvPr/>
        </p:nvGrpSpPr>
        <p:grpSpPr>
          <a:xfrm>
            <a:off x="6801460" y="853492"/>
            <a:ext cx="4837310" cy="587330"/>
            <a:chOff x="54818" y="2746269"/>
            <a:chExt cx="3394420" cy="85711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D19E47-1388-6F36-A8FB-26248E496537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5AB56E6-7590-153D-4971-2C460A3ABA3C}"/>
                </a:ext>
              </a:extLst>
            </p:cNvPr>
            <p:cNvSpPr txBox="1"/>
            <p:nvPr/>
          </p:nvSpPr>
          <p:spPr>
            <a:xfrm>
              <a:off x="226406" y="2883383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latin typeface="Gill Sans MT" panose="020B0502020104020203"/>
                </a:rPr>
                <a:t>I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mplication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 of sustainability / greening mandates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DA85451-8AAB-3E38-3041-2850A605918A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Nextrade Group survey with Asia-Pacific, African, and MENA micro and small firms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EBBB47B-9FFA-9944-9048-BA7217754F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5612315"/>
              </p:ext>
            </p:extLst>
          </p:nvPr>
        </p:nvGraphicFramePr>
        <p:xfrm>
          <a:off x="670159" y="1550370"/>
          <a:ext cx="5062220" cy="3797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456D3B0-5949-DC4E-B3A0-1D508FD9F7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8246995"/>
              </p:ext>
            </p:extLst>
          </p:nvPr>
        </p:nvGraphicFramePr>
        <p:xfrm>
          <a:off x="6566742" y="1276256"/>
          <a:ext cx="5062220" cy="319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6AECB7A-8A55-4844-9012-3380CD1B04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2936390"/>
              </p:ext>
            </p:extLst>
          </p:nvPr>
        </p:nvGraphicFramePr>
        <p:xfrm>
          <a:off x="6801460" y="4470356"/>
          <a:ext cx="4514482" cy="2232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73087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Graphic spid="10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6D19E47-1388-6F36-A8FB-26248E496537}"/>
              </a:ext>
            </a:extLst>
          </p:cNvPr>
          <p:cNvSpPr/>
          <p:nvPr/>
        </p:nvSpPr>
        <p:spPr>
          <a:xfrm>
            <a:off x="6801460" y="853492"/>
            <a:ext cx="4592784" cy="493374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A85451-8AAB-3E38-3041-2850A605918A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Nextrade Group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8DA70B-7C13-3403-A978-F4665F89E8E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760"/>
          <a:stretch/>
        </p:blipFill>
        <p:spPr>
          <a:xfrm>
            <a:off x="2045704" y="853492"/>
            <a:ext cx="7654998" cy="55412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3D98EF8E-6847-85E9-578E-385A71BCBAAE}"/>
              </a:ext>
            </a:extLst>
          </p:cNvPr>
          <p:cNvSpPr txBox="1">
            <a:spLocks/>
          </p:cNvSpPr>
          <p:nvPr/>
        </p:nvSpPr>
        <p:spPr>
          <a:xfrm>
            <a:off x="235140" y="315545"/>
            <a:ext cx="11721719" cy="32334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dirty="0">
                <a:latin typeface="Gill Sans MT" panose="020B0502020104020203" pitchFamily="34" charset="0"/>
              </a:rPr>
              <a:t>EXPORT OPPORTUNITIES OF COURSE AS WELL - GLOBAL GREEN TECH IMPORT GROWTH IN 2017-21</a:t>
            </a:r>
          </a:p>
        </p:txBody>
      </p:sp>
    </p:spTree>
    <p:extLst>
      <p:ext uri="{BB962C8B-B14F-4D97-AF65-F5344CB8AC3E}">
        <p14:creationId xmlns:p14="http://schemas.microsoft.com/office/powerpoint/2010/main" val="2138319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DEA92-BC0F-7CEE-B849-EA80A506A3B8}"/>
              </a:ext>
            </a:extLst>
          </p:cNvPr>
          <p:cNvSpPr txBox="1">
            <a:spLocks/>
          </p:cNvSpPr>
          <p:nvPr/>
        </p:nvSpPr>
        <p:spPr>
          <a:xfrm>
            <a:off x="250491" y="94034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TRADE ECOSYSTEM USED BY SMES ALSO GREENIN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6C11376-AED0-3746-554F-CA39B6C5CE32}"/>
              </a:ext>
            </a:extLst>
          </p:cNvPr>
          <p:cNvGrpSpPr/>
          <p:nvPr/>
        </p:nvGrpSpPr>
        <p:grpSpPr>
          <a:xfrm>
            <a:off x="-128439" y="693256"/>
            <a:ext cx="6101868" cy="767062"/>
            <a:chOff x="54818" y="2746269"/>
            <a:chExt cx="3625322" cy="111940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C5682E6-9480-9243-ED30-48AD6C2D118B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485BE4E-B44F-84B6-B885-C181067F8175}"/>
                </a:ext>
              </a:extLst>
            </p:cNvPr>
            <p:cNvSpPr txBox="1"/>
            <p:nvPr/>
          </p:nvSpPr>
          <p:spPr>
            <a:xfrm>
              <a:off x="457308" y="3145673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Ports around the world are greening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8406547-8FF5-ACC2-A1B1-E8EDA2867F52}"/>
              </a:ext>
            </a:extLst>
          </p:cNvPr>
          <p:cNvGrpSpPr/>
          <p:nvPr/>
        </p:nvGrpSpPr>
        <p:grpSpPr>
          <a:xfrm>
            <a:off x="7216263" y="858361"/>
            <a:ext cx="4725246" cy="701880"/>
            <a:chOff x="-38133" y="2746269"/>
            <a:chExt cx="3315783" cy="102428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6D19E47-1388-6F36-A8FB-26248E496537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5AB56E6-7590-153D-4971-2C460A3ABA3C}"/>
                </a:ext>
              </a:extLst>
            </p:cNvPr>
            <p:cNvSpPr txBox="1"/>
            <p:nvPr/>
          </p:nvSpPr>
          <p:spPr>
            <a:xfrm>
              <a:off x="-38133" y="3050550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SMART ports = green ports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DA85451-8AAB-3E38-3041-2850A605918A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Nextrade Grou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4FB9C1-7866-131C-F70F-E753765245C1}"/>
              </a:ext>
            </a:extLst>
          </p:cNvPr>
          <p:cNvSpPr txBox="1"/>
          <p:nvPr/>
        </p:nvSpPr>
        <p:spPr>
          <a:xfrm>
            <a:off x="444831" y="4774787"/>
            <a:ext cx="11302338" cy="183456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marL="0" marR="0" lvl="0" indent="0" algn="l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Jeddah</a:t>
            </a:r>
            <a:r>
              <a:rPr kumimoji="0" lang="en-ZA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: Smart Port Initiative to automate terminal operations through 5G, improved infrastructure, cloud computing services, cybersecurity; Green Port Initiative aims to </a:t>
            </a:r>
            <a:r>
              <a:rPr kumimoji="0" lang="en-ZA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cut energy consumption by 15 per cent, electrify equipment and phase out diesel</a:t>
            </a:r>
          </a:p>
          <a:p>
            <a:pPr marL="285750" marR="0" lvl="0" indent="-285750" algn="l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Rotterdam: </a:t>
            </a:r>
            <a:r>
              <a:rPr kumimoji="0" lang="en-ZA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Digital twins, IoT sensors, digital traceability, use of drones, blockchain system linking logistics and payments, 5G testing;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transition to 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renewable and green energy sources to electrify ports</a:t>
            </a:r>
          </a:p>
          <a:p>
            <a:pPr marL="285750" marR="0" lvl="0" indent="-285750" algn="l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henzhen: </a:t>
            </a:r>
            <a:r>
              <a:rPr kumimoji="0" lang="en-ZA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mart Port project applies 5G, IoT, big data,  AI and other emerging technologies in port services and operations for automation, efficiency, and intelligent management; includes </a:t>
            </a:r>
            <a:r>
              <a:rPr kumimoji="0" lang="en-ZA" sz="150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green and low carbon initiatives</a:t>
            </a:r>
          </a:p>
          <a:p>
            <a:pPr marL="285750" marR="0" lvl="0" indent="-285750" algn="l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  <a:p>
            <a:pPr marL="0" marR="0" lvl="0" indent="0" algn="l" defTabSz="1600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Gill Sans MT" panose="020B0502020104020203"/>
              <a:ea typeface="+mn-ea"/>
              <a:cs typeface="+mn-cs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18E84AB9-2785-4CBB-ABDC-B3AB8A775A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5521710"/>
              </p:ext>
            </p:extLst>
          </p:nvPr>
        </p:nvGraphicFramePr>
        <p:xfrm>
          <a:off x="6562846" y="1351736"/>
          <a:ext cx="5274491" cy="3197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9445D71F-D881-8A4A-9BEC-30C10FECD6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62021"/>
              </p:ext>
            </p:extLst>
          </p:nvPr>
        </p:nvGraphicFramePr>
        <p:xfrm>
          <a:off x="362379" y="1351735"/>
          <a:ext cx="5863909" cy="3402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88130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70546E3-82AA-489E-55D2-57C38011E2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437" t="13647" r="15411" b="20754"/>
          <a:stretch/>
        </p:blipFill>
        <p:spPr>
          <a:xfrm>
            <a:off x="154455" y="727628"/>
            <a:ext cx="11661722" cy="5742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0214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410887" y="-587"/>
            <a:ext cx="11138263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defRPr/>
            </a:pPr>
            <a:r>
              <a:rPr lang="it-IT" sz="2000" b="1" kern="0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Surveyed African SMES do not take data transfer to third parties lightly</a:t>
            </a:r>
            <a:endParaRPr sz="2000" b="1" dirty="0">
              <a:solidFill>
                <a:srgbClr val="6C6463"/>
              </a:solidFill>
              <a:latin typeface="Gill Sans MT"/>
              <a:cs typeface="Arial"/>
              <a:sym typeface="Gill Sa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CDA5CB-D220-4761-A4FD-647B57735C5E}"/>
              </a:ext>
            </a:extLst>
          </p:cNvPr>
          <p:cNvSpPr txBox="1"/>
          <p:nvPr/>
        </p:nvSpPr>
        <p:spPr>
          <a:xfrm>
            <a:off x="1634835" y="590705"/>
            <a:ext cx="84882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prstClr val="black">
                    <a:lumMod val="50000"/>
                    <a:lumOff val="50000"/>
                  </a:prstClr>
                </a:solidFill>
                <a:latin typeface="Gill Sans" panose="020B0604020202020204" charset="0"/>
                <a:cs typeface="Arial"/>
                <a:sym typeface="Arial"/>
              </a:rPr>
              <a:t>“Are you concerned about how a recipient of the data you transfer uses it?”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2E55D2-E63B-4BC6-94DC-9A210A369C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661"/>
          <a:stretch/>
        </p:blipFill>
        <p:spPr>
          <a:xfrm>
            <a:off x="2235202" y="1043984"/>
            <a:ext cx="7887853" cy="5737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9837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1" y="0"/>
            <a:ext cx="12192000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defRPr/>
            </a:pPr>
            <a:r>
              <a:rPr lang="it-IT" sz="2000" b="1" kern="0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Surveyed African firms want open data regimes and ability to store data where most feasible</a:t>
            </a:r>
            <a:endParaRPr sz="2000" b="1" dirty="0">
              <a:solidFill>
                <a:srgbClr val="6C6463"/>
              </a:solidFill>
              <a:latin typeface="Gill Sans MT"/>
              <a:cs typeface="Arial"/>
              <a:sym typeface="Gill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5FBFA1-474B-4445-9276-A8E7CE8AD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2807" y="591291"/>
            <a:ext cx="9040539" cy="53148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87D5D71-C4EB-4DB9-A001-C908736B9E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2807" y="6077645"/>
            <a:ext cx="9315496" cy="780356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A15A473A-3EB2-4D13-8DFC-295788FE6F83}"/>
              </a:ext>
            </a:extLst>
          </p:cNvPr>
          <p:cNvSpPr/>
          <p:nvPr/>
        </p:nvSpPr>
        <p:spPr>
          <a:xfrm>
            <a:off x="620245" y="2429859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5548632-9225-4512-A478-A726CE91EA80}"/>
              </a:ext>
            </a:extLst>
          </p:cNvPr>
          <p:cNvSpPr/>
          <p:nvPr/>
        </p:nvSpPr>
        <p:spPr>
          <a:xfrm>
            <a:off x="620245" y="1985720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CEC17150-0B13-4A0E-9FBE-47EDBE0C6D62}"/>
              </a:ext>
            </a:extLst>
          </p:cNvPr>
          <p:cNvSpPr/>
          <p:nvPr/>
        </p:nvSpPr>
        <p:spPr>
          <a:xfrm>
            <a:off x="620245" y="813360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endParaRPr lang="en-US" sz="1400" kern="0">
              <a:solidFill>
                <a:prstClr val="white"/>
              </a:solidFill>
              <a:latin typeface="Arial"/>
              <a:sym typeface="Arial"/>
            </a:endParaRPr>
          </a:p>
        </p:txBody>
      </p:sp>
      <p:sp>
        <p:nvSpPr>
          <p:cNvPr id="11" name="Google Shape;86;p14">
            <a:extLst>
              <a:ext uri="{FF2B5EF4-FFF2-40B4-BE49-F238E27FC236}">
                <a16:creationId xmlns:a16="http://schemas.microsoft.com/office/drawing/2014/main" id="{CE73BB9D-96A5-421D-8324-CA58C32E2D4D}"/>
              </a:ext>
            </a:extLst>
          </p:cNvPr>
          <p:cNvSpPr txBox="1"/>
          <p:nvPr/>
        </p:nvSpPr>
        <p:spPr>
          <a:xfrm>
            <a:off x="9845964" y="6467821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it-IT" sz="1067" kern="0" dirty="0">
                <a:solidFill>
                  <a:srgbClr val="999999"/>
                </a:solidFill>
                <a:latin typeface="Gill Sans MT" panose="020B0502020104020203" pitchFamily="34" charset="0"/>
                <a:cs typeface="Arial"/>
                <a:sym typeface="Arial"/>
              </a:rPr>
              <a:t>Source: Suominen and Vambell (2021) </a:t>
            </a:r>
          </a:p>
        </p:txBody>
      </p:sp>
    </p:spTree>
    <p:extLst>
      <p:ext uri="{BB962C8B-B14F-4D97-AF65-F5344CB8AC3E}">
        <p14:creationId xmlns:p14="http://schemas.microsoft.com/office/powerpoint/2010/main" val="4029707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2806C0-8AE3-4975-9946-CCD70055F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DEO SLIDE</a:t>
            </a:r>
          </a:p>
        </p:txBody>
      </p:sp>
      <p:sp>
        <p:nvSpPr>
          <p:cNvPr id="5" name="Media Placeholder 4" descr="Media">
            <a:extLst>
              <a:ext uri="{FF2B5EF4-FFF2-40B4-BE49-F238E27FC236}">
                <a16:creationId xmlns:a16="http://schemas.microsoft.com/office/drawing/2014/main" id="{D7FB60BE-A06D-46A2-8BC5-E4AB30430916}"/>
              </a:ext>
            </a:extLst>
          </p:cNvPr>
          <p:cNvSpPr>
            <a:spLocks noGrp="1"/>
          </p:cNvSpPr>
          <p:nvPr>
            <p:ph type="media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B30A82-8E4A-471C-A080-278975C952A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D8F9E36-CD39-4DDD-927C-C07E8C070A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95E168-DA5E-4888-8D8A-92B118324C14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7" name="Picture 6" descr="A container ship in the ocean&#10;&#10;Description automatically generated">
            <a:extLst>
              <a:ext uri="{FF2B5EF4-FFF2-40B4-BE49-F238E27FC236}">
                <a16:creationId xmlns:a16="http://schemas.microsoft.com/office/drawing/2014/main" id="{6353B221-A66F-FEBD-9DC7-EA1E1B05D1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4844" y="374390"/>
            <a:ext cx="11098026" cy="6083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164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2B381BA-F1D7-483F-B759-9C3451355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CI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12BBAB-4628-42F5-BF78-BE0E594751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Kati </a:t>
            </a:r>
            <a:r>
              <a:rPr lang="en-US" dirty="0" err="1"/>
              <a:t>Suominen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118D49-CA48-4C57-A37C-31BAA753812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Em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E14719-D011-4E0B-9362-CD19FF22FEB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kati@nextradegroupllc.com</a:t>
            </a:r>
          </a:p>
        </p:txBody>
      </p:sp>
    </p:spTree>
    <p:extLst>
      <p:ext uri="{BB962C8B-B14F-4D97-AF65-F5344CB8AC3E}">
        <p14:creationId xmlns:p14="http://schemas.microsoft.com/office/powerpoint/2010/main" val="33092793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1BF317C-D276-4782-B941-58C4D99F83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6903550"/>
              </p:ext>
            </p:extLst>
          </p:nvPr>
        </p:nvGraphicFramePr>
        <p:xfrm>
          <a:off x="167951" y="1669207"/>
          <a:ext cx="6176865" cy="35046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392BDB89-37C1-41D3-AAAC-D8793B040926}"/>
              </a:ext>
            </a:extLst>
          </p:cNvPr>
          <p:cNvGraphicFramePr/>
          <p:nvPr/>
        </p:nvGraphicFramePr>
        <p:xfrm>
          <a:off x="6486992" y="1352940"/>
          <a:ext cx="5583710" cy="52717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E9C6D229-76DD-D73A-D421-4D64B7D7215C}"/>
              </a:ext>
            </a:extLst>
          </p:cNvPr>
          <p:cNvSpPr txBox="1"/>
          <p:nvPr/>
        </p:nvSpPr>
        <p:spPr>
          <a:xfrm>
            <a:off x="816428" y="768165"/>
            <a:ext cx="4769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Arial"/>
              </a:rPr>
              <a:t>MSMEs are increasingly engaged in ecommer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685C45-D48D-0E79-DF8C-255429D2BEA6}"/>
              </a:ext>
            </a:extLst>
          </p:cNvPr>
          <p:cNvSpPr txBox="1"/>
          <p:nvPr/>
        </p:nvSpPr>
        <p:spPr>
          <a:xfrm>
            <a:off x="6789574" y="768165"/>
            <a:ext cx="531223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Arial"/>
              </a:rPr>
              <a:t>Graduating from social channels to using marketplaces to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CF8B51-7A1A-D28E-A991-6EEC5F2CEE93}"/>
              </a:ext>
            </a:extLst>
          </p:cNvPr>
          <p:cNvSpPr txBox="1">
            <a:spLocks/>
          </p:cNvSpPr>
          <p:nvPr/>
        </p:nvSpPr>
        <p:spPr>
          <a:xfrm>
            <a:off x="379684" y="195484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Ecommerce adoption expanding</a:t>
            </a:r>
          </a:p>
        </p:txBody>
      </p:sp>
    </p:spTree>
    <p:extLst>
      <p:ext uri="{BB962C8B-B14F-4D97-AF65-F5344CB8AC3E}">
        <p14:creationId xmlns:p14="http://schemas.microsoft.com/office/powerpoint/2010/main" val="3194203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79A3E7C-8447-6F85-F979-AD0D92E3E327}"/>
              </a:ext>
            </a:extLst>
          </p:cNvPr>
          <p:cNvSpPr txBox="1">
            <a:spLocks/>
          </p:cNvSpPr>
          <p:nvPr/>
        </p:nvSpPr>
        <p:spPr>
          <a:xfrm>
            <a:off x="235140" y="152547"/>
            <a:ext cx="11721719" cy="3233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  <a:ea typeface="+mj-ea"/>
                <a:cs typeface="+mj-cs"/>
              </a:rPr>
              <a:t>US is dominant and growing in some large green tech industries (size of bubble: US exports)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F281827-5AB9-532B-4E86-2D739549F312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158221"/>
              </p:ext>
            </p:extLst>
          </p:nvPr>
        </p:nvGraphicFramePr>
        <p:xfrm>
          <a:off x="1057835" y="609600"/>
          <a:ext cx="9690847" cy="5988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595783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C28E86E3-1053-48DE-AE53-124D4FF095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54729541"/>
              </p:ext>
            </p:extLst>
          </p:nvPr>
        </p:nvGraphicFramePr>
        <p:xfrm>
          <a:off x="349897" y="1352940"/>
          <a:ext cx="5954485" cy="4736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59A27A1-0541-45B1-8173-41DA41761852}"/>
              </a:ext>
            </a:extLst>
          </p:cNvPr>
          <p:cNvGraphicFramePr/>
          <p:nvPr/>
        </p:nvGraphicFramePr>
        <p:xfrm>
          <a:off x="6304383" y="1488103"/>
          <a:ext cx="5702560" cy="4889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AE7FA20-855B-697B-88C2-64F32932F55F}"/>
              </a:ext>
            </a:extLst>
          </p:cNvPr>
          <p:cNvSpPr txBox="1"/>
          <p:nvPr/>
        </p:nvSpPr>
        <p:spPr>
          <a:xfrm>
            <a:off x="816428" y="768165"/>
            <a:ext cx="47695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Arial"/>
              </a:rPr>
              <a:t>Online sellers likelier to export and export to more marke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1FD011-A3A3-B960-377B-4DB8E10B3BCE}"/>
              </a:ext>
            </a:extLst>
          </p:cNvPr>
          <p:cNvSpPr txBox="1"/>
          <p:nvPr/>
        </p:nvSpPr>
        <p:spPr>
          <a:xfrm>
            <a:off x="6789574" y="768165"/>
            <a:ext cx="531223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Arial"/>
              </a:rPr>
              <a:t>Larger sellers are especially realizing export gains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E9B941D-C454-1E51-D011-41203C68A3BB}"/>
              </a:ext>
            </a:extLst>
          </p:cNvPr>
          <p:cNvSpPr txBox="1">
            <a:spLocks/>
          </p:cNvSpPr>
          <p:nvPr/>
        </p:nvSpPr>
        <p:spPr>
          <a:xfrm>
            <a:off x="406040" y="160039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Ecommerce is an opportunity for </a:t>
            </a: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smes</a:t>
            </a: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 to export</a:t>
            </a:r>
          </a:p>
        </p:txBody>
      </p:sp>
    </p:spTree>
    <p:extLst>
      <p:ext uri="{BB962C8B-B14F-4D97-AF65-F5344CB8AC3E}">
        <p14:creationId xmlns:p14="http://schemas.microsoft.com/office/powerpoint/2010/main" val="1715792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DEA92-BC0F-7CEE-B849-EA80A506A3B8}"/>
              </a:ext>
            </a:extLst>
          </p:cNvPr>
          <p:cNvSpPr txBox="1">
            <a:spLocks/>
          </p:cNvSpPr>
          <p:nvPr/>
        </p:nvSpPr>
        <p:spPr>
          <a:xfrm>
            <a:off x="250491" y="84398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NEW CHALLENGES FOR SMES IN TRADE: “GREEN TAPE”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A85451-8AAB-3E38-3041-2850A605918A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Nextrade Group survey with Asia-Pacific, African, and MENA micro and small firm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05F6213-E2AE-032A-F25C-32C976AD9E3E}"/>
              </a:ext>
            </a:extLst>
          </p:cNvPr>
          <p:cNvGrpSpPr/>
          <p:nvPr/>
        </p:nvGrpSpPr>
        <p:grpSpPr>
          <a:xfrm>
            <a:off x="6533530" y="640640"/>
            <a:ext cx="5724703" cy="957300"/>
            <a:chOff x="54818" y="2746269"/>
            <a:chExt cx="3669779" cy="1397025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64FE47D4-A7FA-E2B2-DF7D-733985868849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B413557-1C24-559F-D183-53BF0C36363A}"/>
                </a:ext>
              </a:extLst>
            </p:cNvPr>
            <p:cNvSpPr txBox="1"/>
            <p:nvPr/>
          </p:nvSpPr>
          <p:spPr>
            <a:xfrm>
              <a:off x="501765" y="3423294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Supply chain </a:t>
              </a: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sustainability mandate milestone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1A3D7443-1583-28A5-94D4-758A9771D7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846" y="1244210"/>
            <a:ext cx="6417418" cy="403398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B5AC18F-2947-F462-C8A8-18D65FA0A9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6103" y="1512570"/>
            <a:ext cx="5229051" cy="2848022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4835AE13-314F-381B-78C7-CBE38BEE3A94}"/>
              </a:ext>
            </a:extLst>
          </p:cNvPr>
          <p:cNvGrpSpPr/>
          <p:nvPr/>
        </p:nvGrpSpPr>
        <p:grpSpPr>
          <a:xfrm>
            <a:off x="276112" y="755182"/>
            <a:ext cx="5660933" cy="580110"/>
            <a:chOff x="54818" y="2746269"/>
            <a:chExt cx="3628900" cy="84657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1B80FE2-BF80-CBBA-8250-769640AD9724}"/>
                </a:ext>
              </a:extLst>
            </p:cNvPr>
            <p:cNvSpPr/>
            <p:nvPr/>
          </p:nvSpPr>
          <p:spPr>
            <a:xfrm>
              <a:off x="54818" y="2746269"/>
              <a:ext cx="3222832" cy="720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1798776-BEB3-DFE5-E71E-BE22E402759A}"/>
                </a:ext>
              </a:extLst>
            </p:cNvPr>
            <p:cNvSpPr txBox="1"/>
            <p:nvPr/>
          </p:nvSpPr>
          <p:spPr>
            <a:xfrm>
              <a:off x="460886" y="2872846"/>
              <a:ext cx="3222832" cy="720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marR="0" lvl="0" indent="0" algn="ctr" defTabSz="1600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Gill Sans MT" panose="020B0502020104020203"/>
                  <a:ea typeface="+mn-ea"/>
                  <a:cs typeface="+mn-cs"/>
                </a:rPr>
                <a:t>OECD Environmental Policy Stringe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7557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F33285-7F4C-26D4-C2EC-28C6307061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281" y="1179288"/>
            <a:ext cx="9928059" cy="559150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364BD6E-A482-47EA-07DF-4A9B233E5CF5}"/>
              </a:ext>
            </a:extLst>
          </p:cNvPr>
          <p:cNvSpPr txBox="1">
            <a:spLocks/>
          </p:cNvSpPr>
          <p:nvPr/>
        </p:nvSpPr>
        <p:spPr>
          <a:xfrm>
            <a:off x="250491" y="260862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CBAM (Carbon Border Adjustment Mechanism) = import tariff on carbon-intensive goods from outside </a:t>
            </a:r>
            <a:r>
              <a:rPr kumimoji="0" lang="en-US" sz="2400" b="0" i="0" u="none" strike="noStrike" kern="1200" cap="all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eu</a:t>
            </a:r>
            <a:endParaRPr kumimoji="0" lang="en-US" sz="24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95766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F634944-821C-0597-129E-C24511F703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842" y="1842918"/>
            <a:ext cx="5785803" cy="361249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249501-1D7D-13B2-84FB-BDF34B8981AD}"/>
              </a:ext>
            </a:extLst>
          </p:cNvPr>
          <p:cNvSpPr txBox="1"/>
          <p:nvPr/>
        </p:nvSpPr>
        <p:spPr>
          <a:xfrm>
            <a:off x="1184367" y="979866"/>
            <a:ext cx="4724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SMEs’ desire to “become more environmentally sustainable and green” by firm size and export statu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CED258-1878-481D-2A06-8792DF831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2969" y="1749371"/>
            <a:ext cx="5098540" cy="43498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444330D-6A98-43A6-0986-C2EE4CA0B4BF}"/>
              </a:ext>
            </a:extLst>
          </p:cNvPr>
          <p:cNvSpPr txBox="1"/>
          <p:nvPr/>
        </p:nvSpPr>
        <p:spPr>
          <a:xfrm>
            <a:off x="7587916" y="1141562"/>
            <a:ext cx="410179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MEs’ needs to become more sustainable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04F34A1-F91B-BE81-B3D4-D74B27356CD4}"/>
              </a:ext>
            </a:extLst>
          </p:cNvPr>
          <p:cNvSpPr txBox="1">
            <a:spLocks/>
          </p:cNvSpPr>
          <p:nvPr/>
        </p:nvSpPr>
        <p:spPr>
          <a:xfrm>
            <a:off x="250491" y="188672"/>
            <a:ext cx="11691018" cy="5605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800" b="0" kern="1200" cap="all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/>
                <a:ea typeface="+mj-ea"/>
                <a:cs typeface="+mj-cs"/>
              </a:rPr>
              <a:t>WE FIND: EXPORTERS ARE LIKELIEST TO WANT TO GREE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CBE7ECF-8630-E29D-6907-D55614D1BC72}"/>
              </a:ext>
            </a:extLst>
          </p:cNvPr>
          <p:cNvSpPr txBox="1"/>
          <p:nvPr/>
        </p:nvSpPr>
        <p:spPr>
          <a:xfrm>
            <a:off x="64169" y="6609347"/>
            <a:ext cx="536025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ill Sans MT" panose="020B0502020104020203"/>
                <a:ea typeface="+mn-ea"/>
                <a:cs typeface="+mn-cs"/>
              </a:rPr>
              <a:t>Source: Nextrade Group survey for UPS, 2023</a:t>
            </a:r>
          </a:p>
        </p:txBody>
      </p:sp>
    </p:spTree>
    <p:extLst>
      <p:ext uri="{BB962C8B-B14F-4D97-AF65-F5344CB8AC3E}">
        <p14:creationId xmlns:p14="http://schemas.microsoft.com/office/powerpoint/2010/main" val="7296992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87615" y="1155343"/>
            <a:ext cx="1999803" cy="4547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marL="0" marR="0" lvl="0" indent="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SME and especially online seller - exporters </a:t>
            </a:r>
            <a:r>
              <a:rPr kumimoji="0" lang="it-IT" sz="20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export and import data</a:t>
            </a: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: </a:t>
            </a:r>
          </a:p>
          <a:p>
            <a:pPr marL="0" marR="0" lvl="0" indent="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data transfer is critical for SMEs that export using ecommerce </a:t>
            </a:r>
            <a:endParaRPr kumimoji="0" sz="2000" b="1" i="0" u="none" strike="noStrike" kern="1200" cap="none" spc="0" normalizeH="0" baseline="0" noProof="0" dirty="0">
              <a:ln>
                <a:noFill/>
              </a:ln>
              <a:solidFill>
                <a:srgbClr val="6C6463"/>
              </a:solidFill>
              <a:effectLst/>
              <a:uLnTx/>
              <a:uFillTx/>
              <a:latin typeface="Gill Sans MT"/>
              <a:ea typeface="+mn-ea"/>
              <a:cs typeface="Arial"/>
              <a:sym typeface="Gill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AE9DFD-1D45-4537-BD89-BD30ADEBC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5200" y="0"/>
            <a:ext cx="9707417" cy="6541653"/>
          </a:xfrm>
          <a:prstGeom prst="rect">
            <a:avLst/>
          </a:prstGeom>
        </p:spPr>
      </p:pic>
      <p:sp>
        <p:nvSpPr>
          <p:cNvPr id="5" name="Google Shape;86;p14">
            <a:extLst>
              <a:ext uri="{FF2B5EF4-FFF2-40B4-BE49-F238E27FC236}">
                <a16:creationId xmlns:a16="http://schemas.microsoft.com/office/drawing/2014/main" id="{BEE16319-5886-4A90-BAB6-28C18EFDB1CE}"/>
              </a:ext>
            </a:extLst>
          </p:cNvPr>
          <p:cNvSpPr txBox="1"/>
          <p:nvPr/>
        </p:nvSpPr>
        <p:spPr>
          <a:xfrm>
            <a:off x="18473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it-IT" sz="1067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Arial"/>
              </a:rPr>
              <a:t>Source: Suominen and Vambell (2021) </a:t>
            </a:r>
          </a:p>
        </p:txBody>
      </p:sp>
    </p:spTree>
    <p:extLst>
      <p:ext uri="{BB962C8B-B14F-4D97-AF65-F5344CB8AC3E}">
        <p14:creationId xmlns:p14="http://schemas.microsoft.com/office/powerpoint/2010/main" val="1768432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366199E-08E4-47CA-AB42-D59E5C000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8871" y="591291"/>
            <a:ext cx="8431904" cy="4922819"/>
          </a:xfrm>
          <a:prstGeom prst="rect">
            <a:avLst/>
          </a:prstGeom>
        </p:spPr>
      </p:pic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383178" y="0"/>
            <a:ext cx="11138263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defRPr/>
            </a:pPr>
            <a:r>
              <a:rPr lang="it-IT" sz="2000" b="1" kern="0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« S» Data privacy and transfer law diversity or «fragmentation» around the world</a:t>
            </a:r>
            <a:endParaRPr sz="2000" b="1" dirty="0">
              <a:solidFill>
                <a:srgbClr val="6C6463"/>
              </a:solidFill>
              <a:latin typeface="Gill Sans MT"/>
              <a:cs typeface="Arial"/>
              <a:sym typeface="Gill Sans"/>
            </a:endParaRPr>
          </a:p>
        </p:txBody>
      </p:sp>
      <p:pic>
        <p:nvPicPr>
          <p:cNvPr id="6" name="Picture 5" descr="Text, letter&#10;&#10;Description automatically generated">
            <a:extLst>
              <a:ext uri="{FF2B5EF4-FFF2-40B4-BE49-F238E27FC236}">
                <a16:creationId xmlns:a16="http://schemas.microsoft.com/office/drawing/2014/main" id="{B38E7DA6-E659-42F7-8869-F087277C5BC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396" y="5199381"/>
            <a:ext cx="7921413" cy="1658620"/>
          </a:xfrm>
          <a:prstGeom prst="rect">
            <a:avLst/>
          </a:prstGeom>
        </p:spPr>
      </p:pic>
      <p:sp>
        <p:nvSpPr>
          <p:cNvPr id="7" name="Google Shape;86;p14">
            <a:extLst>
              <a:ext uri="{FF2B5EF4-FFF2-40B4-BE49-F238E27FC236}">
                <a16:creationId xmlns:a16="http://schemas.microsoft.com/office/drawing/2014/main" id="{64334F01-7C83-4CC3-9C3A-26A04F650D1C}"/>
              </a:ext>
            </a:extLst>
          </p:cNvPr>
          <p:cNvSpPr txBox="1"/>
          <p:nvPr/>
        </p:nvSpPr>
        <p:spPr>
          <a:xfrm>
            <a:off x="9822740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it-IT" sz="1067" kern="0" dirty="0">
                <a:solidFill>
                  <a:srgbClr val="999999"/>
                </a:solidFill>
                <a:latin typeface="Gill Sans MT" panose="020B0502020104020203" pitchFamily="34" charset="0"/>
                <a:cs typeface="Arial"/>
                <a:sym typeface="Arial"/>
              </a:rPr>
              <a:t>Source: Suominen and Vambell (2021) </a:t>
            </a:r>
          </a:p>
        </p:txBody>
      </p:sp>
    </p:spTree>
    <p:extLst>
      <p:ext uri="{BB962C8B-B14F-4D97-AF65-F5344CB8AC3E}">
        <p14:creationId xmlns:p14="http://schemas.microsoft.com/office/powerpoint/2010/main" val="854981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28;p19">
            <a:extLst>
              <a:ext uri="{FF2B5EF4-FFF2-40B4-BE49-F238E27FC236}">
                <a16:creationId xmlns:a16="http://schemas.microsoft.com/office/drawing/2014/main" id="{E71CAC22-3AD2-4BED-8FE3-8323D3370E18}"/>
              </a:ext>
            </a:extLst>
          </p:cNvPr>
          <p:cNvSpPr txBox="1"/>
          <p:nvPr/>
        </p:nvSpPr>
        <p:spPr>
          <a:xfrm>
            <a:off x="253844" y="164694"/>
            <a:ext cx="2777267" cy="608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marL="0" marR="0" lvl="0" indent="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African MSMEs’ main </a:t>
            </a: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digital policy  challenges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in </a:t>
            </a: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exporting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 products or services 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online – </a:t>
            </a:r>
          </a:p>
          <a:p>
            <a:pPr marL="0" marR="0" lvl="0" indent="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Gill Sans"/>
              <a:cs typeface="Gill Sans"/>
              <a:sym typeface="Gill Sans"/>
            </a:endParaRPr>
          </a:p>
          <a:p>
            <a:pPr marL="342900" marR="0" lvl="0" indent="-34290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Unclear / complex data privacy, tax, and consumer protection rules in foreign markets</a:t>
            </a:r>
          </a:p>
          <a:p>
            <a:pPr marL="342900" marR="0" lvl="0" indent="-34290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it-IT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Gill Sans"/>
              <a:cs typeface="Gill Sans"/>
              <a:sym typeface="Gill Sans"/>
            </a:endParaRPr>
          </a:p>
          <a:p>
            <a:pPr marL="342900" marR="0" lvl="0" indent="-34290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Prospect of d</a:t>
            </a: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Arial"/>
                <a:sym typeface="Gill Sans"/>
              </a:rPr>
              <a:t>ata localization</a:t>
            </a:r>
          </a:p>
          <a:p>
            <a:pPr marL="342900" marR="0" lvl="0" indent="-34290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it-IT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Gill Sans"/>
              <a:cs typeface="Arial"/>
              <a:sym typeface="Gill Sans"/>
            </a:endParaRPr>
          </a:p>
          <a:p>
            <a:pPr marL="342900" marR="0" lvl="0" indent="-342900" algn="l" defTabSz="604693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Gill Sans"/>
                <a:cs typeface="Gill Sans"/>
                <a:sym typeface="Gill Sans"/>
              </a:rPr>
              <a:t>Regulatory fragmentation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59D9A989-6D1E-44A4-BCA3-778B738FA33A}"/>
              </a:ext>
            </a:extLst>
          </p:cNvPr>
          <p:cNvSpPr/>
          <p:nvPr/>
        </p:nvSpPr>
        <p:spPr>
          <a:xfrm>
            <a:off x="3557409" y="778523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F643F48-8253-4FD7-8EBE-1E76B87DFB69}"/>
              </a:ext>
            </a:extLst>
          </p:cNvPr>
          <p:cNvSpPr/>
          <p:nvPr/>
        </p:nvSpPr>
        <p:spPr>
          <a:xfrm>
            <a:off x="3557409" y="84572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10E5B-E840-4ECD-8A9B-1730CD8E6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809" y="40406"/>
            <a:ext cx="6558009" cy="6858001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A1FFD8D-2CDA-4A1B-98B3-575263BBCCBB}"/>
              </a:ext>
            </a:extLst>
          </p:cNvPr>
          <p:cNvSpPr/>
          <p:nvPr/>
        </p:nvSpPr>
        <p:spPr>
          <a:xfrm>
            <a:off x="3557409" y="4828375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2142EB18-7E3D-413F-9C18-D73A9144A407}"/>
              </a:ext>
            </a:extLst>
          </p:cNvPr>
          <p:cNvSpPr/>
          <p:nvPr/>
        </p:nvSpPr>
        <p:spPr>
          <a:xfrm>
            <a:off x="3557409" y="3469405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Google Shape;86;p14">
            <a:extLst>
              <a:ext uri="{FF2B5EF4-FFF2-40B4-BE49-F238E27FC236}">
                <a16:creationId xmlns:a16="http://schemas.microsoft.com/office/drawing/2014/main" id="{9C9EF9E4-8CE8-459E-978C-263B756E4D19}"/>
              </a:ext>
            </a:extLst>
          </p:cNvPr>
          <p:cNvSpPr txBox="1"/>
          <p:nvPr/>
        </p:nvSpPr>
        <p:spPr>
          <a:xfrm>
            <a:off x="18473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it-IT" sz="1067" b="0" i="0" u="none" strike="noStrike" kern="0" cap="none" spc="0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Arial"/>
                <a:sym typeface="Arial"/>
              </a:rPr>
              <a:t>Source: Suominen and Vambell (2021) </a:t>
            </a:r>
          </a:p>
        </p:txBody>
      </p:sp>
    </p:spTree>
    <p:extLst>
      <p:ext uri="{BB962C8B-B14F-4D97-AF65-F5344CB8AC3E}">
        <p14:creationId xmlns:p14="http://schemas.microsoft.com/office/powerpoint/2010/main" val="2470316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7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5D5C9A8_1D56_42F9_BE2B_BFB626A5CE84&quot;,&quot;SourceFullName&quot;:&quot;https://d.docs.live.net/173c33f31711fa31/USA GREEN TECH EXPORTS HS.xlsx&quot;,&quot;LastUpdate&quot;:&quot;2023-02-20 10:05 PM&quot;,&quot;UpdatedBy&quot;:&quot;12022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Custom 24">
      <a:dk1>
        <a:sysClr val="windowText" lastClr="000000"/>
      </a:dk1>
      <a:lt1>
        <a:sysClr val="window" lastClr="FFFFFF"/>
      </a:lt1>
      <a:dk2>
        <a:srgbClr val="64AC00"/>
      </a:dk2>
      <a:lt2>
        <a:srgbClr val="CBFF00"/>
      </a:lt2>
      <a:accent1>
        <a:srgbClr val="002E62"/>
      </a:accent1>
      <a:accent2>
        <a:srgbClr val="004CB9"/>
      </a:accent2>
      <a:accent3>
        <a:srgbClr val="005500"/>
      </a:accent3>
      <a:accent4>
        <a:srgbClr val="16B3DC"/>
      </a:accent4>
      <a:accent5>
        <a:srgbClr val="F9DC5C"/>
      </a:accent5>
      <a:accent6>
        <a:srgbClr val="EF626C"/>
      </a:accent6>
      <a:hlink>
        <a:srgbClr val="FFFFFF"/>
      </a:hlink>
      <a:folHlink>
        <a:srgbClr val="FFFFFF"/>
      </a:folHlink>
    </a:clrScheme>
    <a:fontScheme name="Custom 21">
      <a:majorFont>
        <a:latin typeface="Gill Sans MT"/>
        <a:ea typeface=""/>
        <a:cs typeface=""/>
      </a:majorFont>
      <a:minorFont>
        <a:latin typeface="Franklin Gothic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2700" cap="flat">
          <a:noFill/>
          <a:prstDash val="solid"/>
          <a:miter/>
        </a:ln>
      </a:spPr>
      <a:bodyPr rtlCol="0" anchor="ctr"/>
      <a:lstStyle>
        <a:defPPr algn="l">
          <a:defRPr dirty="0"/>
        </a:defPPr>
      </a:lstStyle>
    </a:spDef>
  </a:objectDefaults>
  <a:extraClrSchemeLst/>
  <a:extLst>
    <a:ext uri="{05A4C25C-085E-4340-85A3-A5531E510DB2}">
      <thm15:themeFamily xmlns:thm15="http://schemas.microsoft.com/office/thememl/2012/main" name="TF22977542_Outdoors presentation_RVA_v4.potx" id="{6CD96AFB-7D75-48FF-A856-C8B82BF3C12B}" vid="{1E6ACFD4-3AE6-4944-B76B-DA44E915EC7F}"/>
    </a:ext>
  </a:extLst>
</a:theme>
</file>

<file path=ppt/theme/theme2.xml><?xml version="1.0" encoding="utf-8"?>
<a:theme xmlns:a="http://schemas.openxmlformats.org/drawingml/2006/main" name="Custom">
  <a:themeElements>
    <a:clrScheme name="Dividend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1A3260"/>
      </a:accent1>
      <a:accent2>
        <a:srgbClr val="4590B8"/>
      </a:accent2>
      <a:accent3>
        <a:srgbClr val="45CBE8"/>
      </a:accent3>
      <a:accent4>
        <a:srgbClr val="969FA7"/>
      </a:accent4>
      <a:accent5>
        <a:srgbClr val="A2C777"/>
      </a:accent5>
      <a:accent6>
        <a:srgbClr val="42955F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56390039_win32_fixed.potx" id="{08D75CB0-AD9B-4834-8559-901094BB0ABE}" vid="{3B3EDB20-B381-4B6C-99AC-7C5CDA2B40F6}"/>
    </a:ext>
  </a:extLst>
</a:theme>
</file>

<file path=ppt/theme/theme3.xml><?xml version="1.0" encoding="utf-8"?>
<a:theme xmlns:a="http://schemas.openxmlformats.org/drawingml/2006/main" name="1_Office Theme">
  <a:themeElements>
    <a:clrScheme name="Red Violet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Dividend">
  <a:themeElements>
    <a:clrScheme name="eTrade Colors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7A8E0"/>
      </a:accent1>
      <a:accent2>
        <a:srgbClr val="FCB02F"/>
      </a:accent2>
      <a:accent3>
        <a:srgbClr val="F97C34"/>
      </a:accent3>
      <a:accent4>
        <a:srgbClr val="979A9C"/>
      </a:accent4>
      <a:accent5>
        <a:srgbClr val="082367"/>
      </a:accent5>
      <a:accent6>
        <a:srgbClr val="BDF4F5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F4B183"/>
      </a:accent2>
      <a:accent3>
        <a:srgbClr val="A5A5A5"/>
      </a:accent3>
      <a:accent4>
        <a:srgbClr val="FFC000"/>
      </a:accent4>
      <a:accent5>
        <a:srgbClr val="5B9BD5"/>
      </a:accent5>
      <a:accent6>
        <a:srgbClr val="A8D08D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Trade Color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27A8E0"/>
    </a:accent1>
    <a:accent2>
      <a:srgbClr val="FCB02F"/>
    </a:accent2>
    <a:accent3>
      <a:srgbClr val="F97C34"/>
    </a:accent3>
    <a:accent4>
      <a:srgbClr val="979A9C"/>
    </a:accent4>
    <a:accent5>
      <a:srgbClr val="082367"/>
    </a:accent5>
    <a:accent6>
      <a:srgbClr val="BDF4F5"/>
    </a:accent6>
    <a:hlink>
      <a:srgbClr val="0563C1"/>
    </a:hlink>
    <a:folHlink>
      <a:srgbClr val="954F72"/>
    </a:folHlink>
  </a:clrScheme>
  <a:fontScheme name="Dividend">
    <a:maj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Dividend">
    <a:fillStyleLst>
      <a:solidFill>
        <a:schemeClr val="phClr"/>
      </a:solidFill>
      <a:gradFill rotWithShape="1">
        <a:gsLst>
          <a:gs pos="0">
            <a:schemeClr val="phClr">
              <a:tint val="68000"/>
              <a:alpha val="90000"/>
              <a:lumMod val="100000"/>
            </a:schemeClr>
          </a:gs>
          <a:gs pos="100000">
            <a:schemeClr val="phClr">
              <a:tint val="90000"/>
              <a:lumMod val="95000"/>
            </a:schemeClr>
          </a:gs>
        </a:gsLst>
        <a:lin ang="5400000" scaled="1"/>
      </a:gradFill>
      <a:gradFill rotWithShape="1">
        <a:gsLst>
          <a:gs pos="0">
            <a:schemeClr val="phClr">
              <a:tint val="98000"/>
              <a:lumMod val="110000"/>
            </a:schemeClr>
          </a:gs>
          <a:gs pos="84000">
            <a:schemeClr val="phClr">
              <a:shade val="90000"/>
              <a:lumMod val="88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>
            <a:lumMod val="90000"/>
          </a:schemeClr>
        </a:solidFill>
        <a:prstDash val="solid"/>
      </a:ln>
      <a:ln w="22225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55000"/>
            </a:srgbClr>
          </a:outerShdw>
        </a:effectLst>
      </a:effectStyle>
      <a:effectStyle>
        <a:effectLst>
          <a:outerShdw blurRad="88900" dist="38100" dir="5040000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38100"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10000"/>
            </a:schemeClr>
          </a:gs>
          <a:gs pos="88000">
            <a:schemeClr val="phClr">
              <a:shade val="94000"/>
              <a:satMod val="110000"/>
              <a:lumMod val="88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8000"/>
              <a:satMod val="110000"/>
              <a:lumMod val="8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Trade Color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27A8E0"/>
    </a:accent1>
    <a:accent2>
      <a:srgbClr val="FCB02F"/>
    </a:accent2>
    <a:accent3>
      <a:srgbClr val="F97C34"/>
    </a:accent3>
    <a:accent4>
      <a:srgbClr val="979A9C"/>
    </a:accent4>
    <a:accent5>
      <a:srgbClr val="082367"/>
    </a:accent5>
    <a:accent6>
      <a:srgbClr val="BDF4F5"/>
    </a:accent6>
    <a:hlink>
      <a:srgbClr val="0563C1"/>
    </a:hlink>
    <a:folHlink>
      <a:srgbClr val="954F72"/>
    </a:folHlink>
  </a:clrScheme>
  <a:fontScheme name="Dividend">
    <a:maj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Dividend">
    <a:fillStyleLst>
      <a:solidFill>
        <a:schemeClr val="phClr"/>
      </a:solidFill>
      <a:gradFill rotWithShape="1">
        <a:gsLst>
          <a:gs pos="0">
            <a:schemeClr val="phClr">
              <a:tint val="68000"/>
              <a:alpha val="90000"/>
              <a:lumMod val="100000"/>
            </a:schemeClr>
          </a:gs>
          <a:gs pos="100000">
            <a:schemeClr val="phClr">
              <a:tint val="90000"/>
              <a:lumMod val="95000"/>
            </a:schemeClr>
          </a:gs>
        </a:gsLst>
        <a:lin ang="5400000" scaled="1"/>
      </a:gradFill>
      <a:gradFill rotWithShape="1">
        <a:gsLst>
          <a:gs pos="0">
            <a:schemeClr val="phClr">
              <a:tint val="98000"/>
              <a:lumMod val="110000"/>
            </a:schemeClr>
          </a:gs>
          <a:gs pos="84000">
            <a:schemeClr val="phClr">
              <a:shade val="90000"/>
              <a:lumMod val="88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>
            <a:lumMod val="90000"/>
          </a:schemeClr>
        </a:solidFill>
        <a:prstDash val="solid"/>
      </a:ln>
      <a:ln w="22225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55000"/>
            </a:srgbClr>
          </a:outerShdw>
        </a:effectLst>
      </a:effectStyle>
      <a:effectStyle>
        <a:effectLst>
          <a:outerShdw blurRad="88900" dist="38100" dir="5040000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38100"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10000"/>
            </a:schemeClr>
          </a:gs>
          <a:gs pos="88000">
            <a:schemeClr val="phClr">
              <a:shade val="94000"/>
              <a:satMod val="110000"/>
              <a:lumMod val="88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8000"/>
              <a:satMod val="110000"/>
              <a:lumMod val="8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Trade Color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27A8E0"/>
    </a:accent1>
    <a:accent2>
      <a:srgbClr val="FCB02F"/>
    </a:accent2>
    <a:accent3>
      <a:srgbClr val="F97C34"/>
    </a:accent3>
    <a:accent4>
      <a:srgbClr val="979A9C"/>
    </a:accent4>
    <a:accent5>
      <a:srgbClr val="082367"/>
    </a:accent5>
    <a:accent6>
      <a:srgbClr val="BDF4F5"/>
    </a:accent6>
    <a:hlink>
      <a:srgbClr val="0563C1"/>
    </a:hlink>
    <a:folHlink>
      <a:srgbClr val="954F72"/>
    </a:folHlink>
  </a:clrScheme>
  <a:fontScheme name="Dividend">
    <a:maj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Dividend">
    <a:fillStyleLst>
      <a:solidFill>
        <a:schemeClr val="phClr"/>
      </a:solidFill>
      <a:gradFill rotWithShape="1">
        <a:gsLst>
          <a:gs pos="0">
            <a:schemeClr val="phClr">
              <a:tint val="68000"/>
              <a:alpha val="90000"/>
              <a:lumMod val="100000"/>
            </a:schemeClr>
          </a:gs>
          <a:gs pos="100000">
            <a:schemeClr val="phClr">
              <a:tint val="90000"/>
              <a:lumMod val="95000"/>
            </a:schemeClr>
          </a:gs>
        </a:gsLst>
        <a:lin ang="5400000" scaled="1"/>
      </a:gradFill>
      <a:gradFill rotWithShape="1">
        <a:gsLst>
          <a:gs pos="0">
            <a:schemeClr val="phClr">
              <a:tint val="98000"/>
              <a:lumMod val="110000"/>
            </a:schemeClr>
          </a:gs>
          <a:gs pos="84000">
            <a:schemeClr val="phClr">
              <a:shade val="90000"/>
              <a:lumMod val="88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>
            <a:lumMod val="90000"/>
          </a:schemeClr>
        </a:solidFill>
        <a:prstDash val="solid"/>
      </a:ln>
      <a:ln w="22225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55000"/>
            </a:srgbClr>
          </a:outerShdw>
        </a:effectLst>
      </a:effectStyle>
      <a:effectStyle>
        <a:effectLst>
          <a:outerShdw blurRad="88900" dist="38100" dir="5040000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38100"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10000"/>
            </a:schemeClr>
          </a:gs>
          <a:gs pos="88000">
            <a:schemeClr val="phClr">
              <a:shade val="94000"/>
              <a:satMod val="110000"/>
              <a:lumMod val="88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8000"/>
              <a:satMod val="110000"/>
              <a:lumMod val="8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eTrade Colors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27A8E0"/>
    </a:accent1>
    <a:accent2>
      <a:srgbClr val="FCB02F"/>
    </a:accent2>
    <a:accent3>
      <a:srgbClr val="F97C34"/>
    </a:accent3>
    <a:accent4>
      <a:srgbClr val="979A9C"/>
    </a:accent4>
    <a:accent5>
      <a:srgbClr val="082367"/>
    </a:accent5>
    <a:accent6>
      <a:srgbClr val="BDF4F5"/>
    </a:accent6>
    <a:hlink>
      <a:srgbClr val="0563C1"/>
    </a:hlink>
    <a:folHlink>
      <a:srgbClr val="954F72"/>
    </a:folHlink>
  </a:clrScheme>
  <a:fontScheme name="Dividend">
    <a:maj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Gill Sans MT" panose="020B0502020104020203"/>
      <a:ea typeface=""/>
      <a:cs typeface=""/>
      <a:font script="Grek" typeface="Corbel"/>
      <a:font script="Cyrl" typeface="Corbel"/>
      <a:font script="Jpan" typeface="HGｺﾞｼｯｸE"/>
      <a:font script="Hang" typeface="휴먼매직체"/>
      <a:font script="Hans" typeface="华文中宋"/>
      <a:font script="Hant" typeface="微軟正黑體"/>
      <a:font script="Arab" typeface="Majalla UI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inorFont>
  </a:fontScheme>
  <a:fmtScheme name="Dividend">
    <a:fillStyleLst>
      <a:solidFill>
        <a:schemeClr val="phClr"/>
      </a:solidFill>
      <a:gradFill rotWithShape="1">
        <a:gsLst>
          <a:gs pos="0">
            <a:schemeClr val="phClr">
              <a:tint val="68000"/>
              <a:alpha val="90000"/>
              <a:lumMod val="100000"/>
            </a:schemeClr>
          </a:gs>
          <a:gs pos="100000">
            <a:schemeClr val="phClr">
              <a:tint val="90000"/>
              <a:lumMod val="95000"/>
            </a:schemeClr>
          </a:gs>
        </a:gsLst>
        <a:lin ang="5400000" scaled="1"/>
      </a:gradFill>
      <a:gradFill rotWithShape="1">
        <a:gsLst>
          <a:gs pos="0">
            <a:schemeClr val="phClr">
              <a:tint val="98000"/>
              <a:lumMod val="110000"/>
            </a:schemeClr>
          </a:gs>
          <a:gs pos="84000">
            <a:schemeClr val="phClr">
              <a:shade val="90000"/>
              <a:lumMod val="88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>
            <a:lumMod val="90000"/>
          </a:schemeClr>
        </a:solidFill>
        <a:prstDash val="solid"/>
      </a:ln>
      <a:ln w="22225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55000"/>
            </a:srgbClr>
          </a:outerShdw>
        </a:effectLst>
      </a:effectStyle>
      <a:effectStyle>
        <a:effectLst>
          <a:outerShdw blurRad="88900" dist="38100" dir="5040000" rotWithShape="0">
            <a:srgbClr val="000000">
              <a:alpha val="60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38100" h="508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10000"/>
            </a:schemeClr>
          </a:gs>
          <a:gs pos="88000">
            <a:schemeClr val="phClr">
              <a:shade val="94000"/>
              <a:satMod val="110000"/>
              <a:lumMod val="88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8000"/>
              <a:satMod val="110000"/>
              <a:lumMod val="8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71af3243-3dd4-4a8d-8c0d-dd76da1f02a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11" ma:contentTypeDescription="Create a new document." ma:contentTypeScope="" ma:versionID="96291512c1ee715ab617f4c07df79fc1">
  <xsd:schema xmlns:xsd="http://www.w3.org/2001/XMLSchema" xmlns:xs="http://www.w3.org/2001/XMLSchema" xmlns:p="http://schemas.microsoft.com/office/2006/metadata/properties" xmlns:ns2="71af3243-3dd4-4a8d-8c0d-dd76da1f02a5" xmlns:ns3="16c05727-aa75-4e4a-9b5f-8a80a1165891" targetNamespace="http://schemas.microsoft.com/office/2006/metadata/properties" ma:root="true" ma:fieldsID="8256c27c40ca5c40ce1cf6c44f0205df" ns2:_="" ns3:_="">
    <xsd:import namespace="71af3243-3dd4-4a8d-8c0d-dd76da1f02a5"/>
    <xsd:import namespace="16c05727-aa75-4e4a-9b5f-8a80a11658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60B100-7079-4DE7-AF7C-20BFB1D62C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26A71AF-4CF2-4B95-BFB6-5C27500258C6}">
  <ds:schemaRefs>
    <ds:schemaRef ds:uri="http://schemas.microsoft.com/office/2006/metadata/properties"/>
    <ds:schemaRef ds:uri="http://schemas.microsoft.com/office/infopath/2007/PartnerControls"/>
    <ds:schemaRef ds:uri="71af3243-3dd4-4a8d-8c0d-dd76da1f02a5"/>
  </ds:schemaRefs>
</ds:datastoreItem>
</file>

<file path=customXml/itemProps3.xml><?xml version="1.0" encoding="utf-8"?>
<ds:datastoreItem xmlns:ds="http://schemas.openxmlformats.org/officeDocument/2006/customXml" ds:itemID="{A935B1F0-3442-4957-9701-25816EFDB6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af3243-3dd4-4a8d-8c0d-dd76da1f02a5"/>
    <ds:schemaRef ds:uri="16c05727-aa75-4e4a-9b5f-8a80a11658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utdoors presentation</Template>
  <TotalTime>20276</TotalTime>
  <Words>665</Words>
  <Application>Microsoft Office PowerPoint</Application>
  <PresentationFormat>Widescreen</PresentationFormat>
  <Paragraphs>80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Arial</vt:lpstr>
      <vt:lpstr>Calibri</vt:lpstr>
      <vt:lpstr>Calibri Light</vt:lpstr>
      <vt:lpstr>Franklin Gothic Book</vt:lpstr>
      <vt:lpstr>Gill Sans</vt:lpstr>
      <vt:lpstr>Gill Sans MT</vt:lpstr>
      <vt:lpstr>Noto Sans Symbols</vt:lpstr>
      <vt:lpstr>Wingdings 2</vt:lpstr>
      <vt:lpstr>Office Theme</vt:lpstr>
      <vt:lpstr>Custom</vt:lpstr>
      <vt:lpstr>1_Office Theme</vt:lpstr>
      <vt:lpstr>1_Dividend</vt:lpstr>
      <vt:lpstr>Tema de Office</vt:lpstr>
      <vt:lpstr>SME TRADE AND SUSTAINABILIT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DEO SLIDE</vt:lpstr>
      <vt:lpstr>GRACIA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KATI SUOMINEN</dc:creator>
  <cp:lastModifiedBy>KATI SUOMINEN</cp:lastModifiedBy>
  <cp:revision>2</cp:revision>
  <dcterms:created xsi:type="dcterms:W3CDTF">2023-08-07T13:03:22Z</dcterms:created>
  <dcterms:modified xsi:type="dcterms:W3CDTF">2023-10-25T11:0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</Properties>
</file>